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9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938" r:id="rId1"/>
    <p:sldMasterId id="2147484907" r:id="rId2"/>
    <p:sldMasterId id="2147483649" r:id="rId3"/>
    <p:sldMasterId id="2147484941" r:id="rId4"/>
    <p:sldMasterId id="2147484989" r:id="rId5"/>
    <p:sldMasterId id="2147484991" r:id="rId6"/>
    <p:sldMasterId id="2147484993" r:id="rId7"/>
    <p:sldMasterId id="2147485005" r:id="rId8"/>
    <p:sldMasterId id="2147485017" r:id="rId9"/>
    <p:sldMasterId id="2147485029" r:id="rId10"/>
  </p:sldMasterIdLst>
  <p:notesMasterIdLst>
    <p:notesMasterId r:id="rId40"/>
  </p:notesMasterIdLst>
  <p:sldIdLst>
    <p:sldId id="722" r:id="rId11"/>
    <p:sldId id="724" r:id="rId12"/>
    <p:sldId id="725" r:id="rId13"/>
    <p:sldId id="726" r:id="rId14"/>
    <p:sldId id="727" r:id="rId15"/>
    <p:sldId id="728" r:id="rId16"/>
    <p:sldId id="729" r:id="rId17"/>
    <p:sldId id="730" r:id="rId18"/>
    <p:sldId id="731" r:id="rId19"/>
    <p:sldId id="732" r:id="rId20"/>
    <p:sldId id="733" r:id="rId21"/>
    <p:sldId id="734" r:id="rId22"/>
    <p:sldId id="735" r:id="rId23"/>
    <p:sldId id="736" r:id="rId24"/>
    <p:sldId id="737" r:id="rId25"/>
    <p:sldId id="738" r:id="rId26"/>
    <p:sldId id="739" r:id="rId27"/>
    <p:sldId id="740" r:id="rId28"/>
    <p:sldId id="741" r:id="rId29"/>
    <p:sldId id="743" r:id="rId30"/>
    <p:sldId id="745" r:id="rId31"/>
    <p:sldId id="753" r:id="rId32"/>
    <p:sldId id="746" r:id="rId33"/>
    <p:sldId id="747" r:id="rId34"/>
    <p:sldId id="748" r:id="rId35"/>
    <p:sldId id="749" r:id="rId36"/>
    <p:sldId id="750" r:id="rId37"/>
    <p:sldId id="751" r:id="rId38"/>
    <p:sldId id="752" r:id="rId39"/>
  </p:sldIdLst>
  <p:sldSz cx="9906000" cy="6858000" type="A4"/>
  <p:notesSz cx="6669088" cy="9928225"/>
  <p:custDataLst>
    <p:tags r:id="rId41"/>
  </p:custDataLst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5pPr>
    <a:lvl6pPr marL="2286000" algn="l" defTabSz="914400" rtl="0" eaLnBrk="1" latinLnBrk="1" hangingPunct="1"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6pPr>
    <a:lvl7pPr marL="2743200" algn="l" defTabSz="914400" rtl="0" eaLnBrk="1" latinLnBrk="1" hangingPunct="1"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7pPr>
    <a:lvl8pPr marL="3200400" algn="l" defTabSz="914400" rtl="0" eaLnBrk="1" latinLnBrk="1" hangingPunct="1"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8pPr>
    <a:lvl9pPr marL="3657600" algn="l" defTabSz="914400" rtl="0" eaLnBrk="1" latinLnBrk="1" hangingPunct="1">
      <a:defRPr kumimoji="1" sz="1200" kern="1200">
        <a:solidFill>
          <a:srgbClr val="2B3749"/>
        </a:solidFill>
        <a:latin typeface="맑은 고딕" pitchFamily="50" charset="-127"/>
        <a:ea typeface="맑은 고딕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2A38"/>
    <a:srgbClr val="2B3749"/>
    <a:srgbClr val="808080"/>
    <a:srgbClr val="D9D9D9"/>
    <a:srgbClr val="FFFF99"/>
    <a:srgbClr val="FFFF66"/>
    <a:srgbClr val="3366CC"/>
    <a:srgbClr val="669900"/>
    <a:srgbClr val="00CC00"/>
    <a:srgbClr val="4157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보통 스타일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0754" autoAdjust="0"/>
    <p:restoredTop sz="94198" autoAdjust="0"/>
  </p:normalViewPr>
  <p:slideViewPr>
    <p:cSldViewPr snapToObjects="1">
      <p:cViewPr>
        <p:scale>
          <a:sx n="110" d="100"/>
          <a:sy n="110" d="100"/>
        </p:scale>
        <p:origin x="-504" y="-48"/>
      </p:cViewPr>
      <p:guideLst>
        <p:guide orient="horz" pos="550"/>
        <p:guide orient="horz" pos="4224"/>
        <p:guide orient="horz" pos="232"/>
        <p:guide pos="6239"/>
        <p:guide pos="3336"/>
        <p:guide pos="1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74" d="100"/>
          <a:sy n="74" d="100"/>
        </p:scale>
        <p:origin x="-2124" y="-96"/>
      </p:cViewPr>
      <p:guideLst>
        <p:guide orient="horz" pos="3127"/>
        <p:guide pos="210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1180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08" tIns="46304" rIns="92608" bIns="46304" numCol="1" anchor="t" anchorCtr="0" compatLnSpc="1">
            <a:prstTxWarp prst="textNoShape">
              <a:avLst/>
            </a:prstTxWarp>
          </a:bodyPr>
          <a:lstStyle>
            <a:lvl1pPr algn="l" defTabSz="925387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6418" y="1"/>
            <a:ext cx="2891180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08" tIns="46304" rIns="92608" bIns="46304" numCol="1" anchor="t" anchorCtr="0" compatLnSpc="1">
            <a:prstTxWarp prst="textNoShape">
              <a:avLst/>
            </a:prstTxWarp>
          </a:bodyPr>
          <a:lstStyle>
            <a:lvl1pPr algn="r" defTabSz="925387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6318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49288" y="746125"/>
            <a:ext cx="5372100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164" y="4716947"/>
            <a:ext cx="5336760" cy="4467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08" tIns="46304" rIns="92608" bIns="46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813"/>
            <a:ext cx="2891180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08" tIns="46304" rIns="92608" bIns="46304" numCol="1" anchor="b" anchorCtr="0" compatLnSpc="1">
            <a:prstTxWarp prst="textNoShape">
              <a:avLst/>
            </a:prstTxWarp>
          </a:bodyPr>
          <a:lstStyle>
            <a:lvl1pPr algn="l" defTabSz="925387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6418" y="9430813"/>
            <a:ext cx="2891180" cy="495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08" tIns="46304" rIns="92608" bIns="46304" numCol="1" anchor="b" anchorCtr="0" compatLnSpc="1">
            <a:prstTxWarp prst="textNoShape">
              <a:avLst/>
            </a:prstTxWarp>
          </a:bodyPr>
          <a:lstStyle>
            <a:lvl1pPr algn="r" defTabSz="925387"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4BBB7F13-E0A2-4B1C-BFD6-1451D7B4F4E6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0929134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649288" y="746125"/>
            <a:ext cx="5372100" cy="3721100"/>
          </a:xfr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BB7F13-E0A2-4B1C-BFD6-1451D7B4F4E6}" type="slidenum">
              <a:rPr lang="en-US" altLang="ko-KR" smtClean="0"/>
              <a:pPr>
                <a:defRPr/>
              </a:pPr>
              <a:t>1</a:t>
            </a:fld>
            <a:endParaRPr lang="en-US" altLang="ko-KR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6E4E737-847C-464A-A402-2CB974ADD460}" type="slidenum">
              <a:rPr lang="en-US" altLang="ko-KR">
                <a:solidFill>
                  <a:prstClr val="black"/>
                </a:solidFill>
              </a:rPr>
              <a:pPr/>
              <a:t>20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52226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57D9A8B-8CFF-4321-BD12-4CBCF672B4F5}" type="slidenum">
              <a:rPr lang="en-US" altLang="ko-KR">
                <a:solidFill>
                  <a:prstClr val="black"/>
                </a:solidFill>
              </a:rPr>
              <a:pPr/>
              <a:t>21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56322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19A6F8F-D749-488E-83AE-56AD8D76F002}" type="slidenum">
              <a:rPr lang="en-US" altLang="ko-KR">
                <a:solidFill>
                  <a:prstClr val="black"/>
                </a:solidFill>
              </a:rPr>
              <a:pPr/>
              <a:t>23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58370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58371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912F88E-A36C-43E6-843E-6ECAA134B050}" type="slidenum">
              <a:rPr lang="en-US" altLang="ko-KR">
                <a:solidFill>
                  <a:prstClr val="black"/>
                </a:solidFill>
              </a:rPr>
              <a:pPr/>
              <a:t>24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60418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0BA427A-47EA-4087-8436-B2F7983B00B3}" type="slidenum">
              <a:rPr lang="en-US" altLang="ko-KR">
                <a:solidFill>
                  <a:prstClr val="black"/>
                </a:solidFill>
              </a:rPr>
              <a:pPr/>
              <a:t>25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62466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6246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A199EAC-FB1B-419F-8946-9D591355B1E2}" type="slidenum">
              <a:rPr lang="en-US" altLang="ko-KR">
                <a:solidFill>
                  <a:prstClr val="black"/>
                </a:solidFill>
              </a:rPr>
              <a:pPr/>
              <a:t>26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64514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64515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D831C8A-9FA1-4092-A9A3-8F32AF9D0B41}" type="slidenum">
              <a:rPr lang="en-US" altLang="ko-KR">
                <a:solidFill>
                  <a:prstClr val="black"/>
                </a:solidFill>
              </a:rPr>
              <a:pPr/>
              <a:t>27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66562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66563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9BB7B73-502E-4629-B450-4BF9BB2D3080}" type="slidenum">
              <a:rPr lang="en-US" altLang="ko-KR">
                <a:solidFill>
                  <a:prstClr val="black"/>
                </a:solidFill>
              </a:rPr>
              <a:pPr/>
              <a:t>28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68610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68611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1589F9D-CD55-46C3-BB2E-6BE1478F032A}" type="slidenum">
              <a:rPr lang="en-US" altLang="ko-KR">
                <a:solidFill>
                  <a:prstClr val="black"/>
                </a:solidFill>
              </a:rPr>
              <a:pPr/>
              <a:t>12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33794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BCFBFB7-CD3C-4FB1-8174-5C051586F6B6}" type="slidenum">
              <a:rPr lang="en-US" altLang="ko-KR">
                <a:solidFill>
                  <a:prstClr val="black"/>
                </a:solidFill>
              </a:rPr>
              <a:pPr/>
              <a:t>13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35842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7E51B21-0181-48D5-AEDD-28BDBFBF01C9}" type="slidenum">
              <a:rPr lang="en-US" altLang="ko-KR">
                <a:solidFill>
                  <a:prstClr val="black"/>
                </a:solidFill>
              </a:rPr>
              <a:pPr/>
              <a:t>14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37890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5BC3FD8-34CE-4F83-AE93-02FF2CDC2B8E}" type="slidenum">
              <a:rPr lang="en-US" altLang="ko-KR">
                <a:solidFill>
                  <a:prstClr val="black"/>
                </a:solidFill>
              </a:rPr>
              <a:pPr/>
              <a:t>15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39938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44651E4-6C0D-43DB-B925-2E1A4659BB61}" type="slidenum">
              <a:rPr lang="en-US" altLang="ko-KR">
                <a:solidFill>
                  <a:prstClr val="black"/>
                </a:solidFill>
              </a:rPr>
              <a:pPr/>
              <a:t>16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41986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D28C4E7-12B3-435A-8F8E-84BA0182012B}" type="slidenum">
              <a:rPr lang="en-US" altLang="ko-KR">
                <a:solidFill>
                  <a:prstClr val="black"/>
                </a:solidFill>
              </a:rPr>
              <a:pPr/>
              <a:t>17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44034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44035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A0E591C-3F89-402D-82BB-E9799052A50D}" type="slidenum">
              <a:rPr lang="en-US" altLang="ko-KR">
                <a:solidFill>
                  <a:prstClr val="black"/>
                </a:solidFill>
              </a:rPr>
              <a:pPr/>
              <a:t>18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46082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B3B9FAD-4FF5-40BA-A2D8-521E58E87E09}" type="slidenum">
              <a:rPr lang="en-US" altLang="ko-KR">
                <a:solidFill>
                  <a:prstClr val="black"/>
                </a:solidFill>
              </a:rPr>
              <a:pPr/>
              <a:t>19</a:t>
            </a:fld>
            <a:endParaRPr lang="en-US" altLang="ko-KR">
              <a:solidFill>
                <a:prstClr val="black"/>
              </a:solidFill>
            </a:endParaRPr>
          </a:p>
        </p:txBody>
      </p:sp>
      <p:sp>
        <p:nvSpPr>
          <p:cNvPr id="48130" name="Rectangle 2"/>
          <p:cNvSpPr>
            <a:spLocks noChangeArrowheads="1" noTextEdit="1"/>
          </p:cNvSpPr>
          <p:nvPr>
            <p:ph type="sldImg"/>
          </p:nvPr>
        </p:nvSpPr>
        <p:spPr>
          <a:xfrm>
            <a:off x="646113" y="742950"/>
            <a:ext cx="5376862" cy="3724275"/>
          </a:xfrm>
          <a:ln cap="flat"/>
        </p:spPr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>
          <a:ln/>
        </p:spPr>
        <p:txBody>
          <a:bodyPr/>
          <a:lstStyle/>
          <a:p>
            <a:endParaRPr lang="ko-KR" altLang="ko-K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36575" indent="-285750">
              <a:defRPr/>
            </a:lvl2pPr>
            <a:lvl3pPr marL="720725" indent="-228600">
              <a:defRPr/>
            </a:lvl3pPr>
            <a:lvl4pPr marL="900113" indent="-228600">
              <a:defRPr/>
            </a:lvl4pPr>
            <a:lvl5pPr marL="1079500" indent="-228600">
              <a:defRPr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60"/>
            <a:ext cx="2311400" cy="365125"/>
          </a:xfrm>
          <a:prstGeom prst="rect">
            <a:avLst/>
          </a:prstGeom>
        </p:spPr>
        <p:txBody>
          <a:bodyPr/>
          <a:lstStyle/>
          <a:p>
            <a:fld id="{5EBBD890-09FA-4EEA-BA44-A2D36D1BAB01}" type="datetime1">
              <a:rPr lang="ko-KR" altLang="en-US" smtClean="0"/>
              <a:pPr/>
              <a:t>2012-12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60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8" name="슬라이드 번호 개체 틀 5"/>
          <p:cNvSpPr txBox="1">
            <a:spLocks/>
          </p:cNvSpPr>
          <p:nvPr userDrawn="1"/>
        </p:nvSpPr>
        <p:spPr>
          <a:xfrm>
            <a:off x="3797300" y="6564906"/>
            <a:ext cx="2311400" cy="248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fontAlgn="base" latinLnBrk="1">
              <a:spcBef>
                <a:spcPct val="0"/>
              </a:spcBef>
              <a:spcAft>
                <a:spcPct val="0"/>
              </a:spcAft>
              <a:buFontTx/>
              <a:buNone/>
              <a:defRPr kumimoji="1" lang="en-US" altLang="ko-KR" sz="1200" b="1" kern="1200" smtClean="0">
                <a:solidFill>
                  <a:srgbClr val="202A38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11150" algn="l"/>
              </a:tabLst>
              <a:defRPr/>
            </a:pPr>
            <a:fld id="{1C47CA80-6484-42A6-9781-E72C38E28267}" type="slidenum">
              <a:rPr kumimoji="1" lang="en-US" altLang="ko-KR" sz="1200" b="1" i="0" u="none" strike="noStrike" kern="1200" cap="none" spc="0" normalizeH="0" baseline="0" noProof="0" smtClean="0">
                <a:ln>
                  <a:noFill/>
                </a:ln>
                <a:solidFill>
                  <a:srgbClr val="202A38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0" fontAlgn="base" latinLnBrk="1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11150" algn="l"/>
                </a:tabLst>
                <a:defRPr/>
              </a:pPr>
              <a:t>‹#›</a:t>
            </a:fld>
            <a:endParaRPr kumimoji="1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202A38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7" name="Picture 2" descr="POSTECH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00991" y="6615457"/>
            <a:ext cx="2876550" cy="16192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C740BFA3-0A96-43FB-997A-E4A574838035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392903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2972" y="27306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EA276D0A-BDA0-413C-95B2-9A5A289DE904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728203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B0DBBDF2-789E-406B-9CEE-77CEF890A009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693271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DC94A61A-F416-443C-BEC0-4B678CE4890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483289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67840" y="119063"/>
            <a:ext cx="2307960" cy="58864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40523" y="119063"/>
            <a:ext cx="6762221" cy="58864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8DA35BE7-8431-4ABA-B327-459827BE16AF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580052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/>
          <a:p>
            <a:fld id="{6A6EDE33-5CC6-420D-B151-65162C1F4D2E}" type="datetime1">
              <a:rPr lang="ko-KR" altLang="en-US" smtClean="0"/>
              <a:pPr/>
              <a:t>2012-12-0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8"/>
            <a:ext cx="2311400" cy="365125"/>
          </a:xfrm>
          <a:prstGeom prst="rect">
            <a:avLst/>
          </a:prstGeom>
        </p:spPr>
        <p:txBody>
          <a:bodyPr/>
          <a:lstStyle/>
          <a:p>
            <a:fld id="{A0940576-2A20-42D9-95AF-32EAD642DBCD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12925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 b="0"/>
            </a:lvl1pPr>
            <a:lvl2pPr marL="536575" indent="-285750">
              <a:defRPr/>
            </a:lvl2pPr>
            <a:lvl3pPr marL="720725" indent="-228600">
              <a:defRPr/>
            </a:lvl3pPr>
            <a:lvl4pPr marL="900113" indent="-228600">
              <a:defRPr/>
            </a:lvl4pPr>
            <a:lvl5pPr marL="1079500" indent="-228600">
              <a:defRPr/>
            </a:lvl5pPr>
          </a:lstStyle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8"/>
            <a:ext cx="2311400" cy="365125"/>
          </a:xfrm>
          <a:prstGeom prst="rect">
            <a:avLst/>
          </a:prstGeom>
        </p:spPr>
        <p:txBody>
          <a:bodyPr/>
          <a:lstStyle/>
          <a:p>
            <a:fld id="{5EBBD890-09FA-4EEA-BA44-A2D36D1BAB01}" type="datetime1">
              <a:rPr lang="ko-KR" altLang="en-US" smtClean="0"/>
              <a:pPr/>
              <a:t>2012-12-06</a:t>
            </a:fld>
            <a:endParaRPr lang="ko-KR" altLang="en-US"/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8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8" name="슬라이드 번호 개체 틀 5"/>
          <p:cNvSpPr txBox="1">
            <a:spLocks/>
          </p:cNvSpPr>
          <p:nvPr userDrawn="1"/>
        </p:nvSpPr>
        <p:spPr>
          <a:xfrm>
            <a:off x="3797300" y="6564906"/>
            <a:ext cx="2311400" cy="248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fontAlgn="base" latinLnBrk="1">
              <a:spcBef>
                <a:spcPct val="0"/>
              </a:spcBef>
              <a:spcAft>
                <a:spcPct val="0"/>
              </a:spcAft>
              <a:buFontTx/>
              <a:buNone/>
              <a:defRPr kumimoji="1" lang="en-US" altLang="ko-KR" sz="1200" b="1" kern="1200" smtClean="0">
                <a:solidFill>
                  <a:srgbClr val="202A38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eaLnBrk="0" hangingPunct="0">
              <a:tabLst>
                <a:tab pos="311150" algn="l"/>
              </a:tabLst>
              <a:defRPr/>
            </a:pPr>
            <a:fld id="{1C47CA80-6484-42A6-9781-E72C38E28267}" type="slidenum">
              <a:rPr>
                <a:ea typeface="맑은 고딕"/>
              </a:rPr>
              <a:pPr eaLnBrk="0" hangingPunct="0">
                <a:tabLst>
                  <a:tab pos="311150" algn="l"/>
                </a:tabLst>
                <a:defRPr/>
              </a:pPr>
              <a:t>‹#›</a:t>
            </a:fld>
            <a:endParaRPr lang="ko-KR" altLang="en-US" dirty="0"/>
          </a:p>
        </p:txBody>
      </p:sp>
      <p:pic>
        <p:nvPicPr>
          <p:cNvPr id="7" name="Picture 2" descr="POSTECH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00990" y="6615455"/>
            <a:ext cx="2876550" cy="1619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66041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F7C58-742A-4350-BA89-F4AB8C6F5D97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4804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D34815E-9179-4285-AD39-3EEB063DEA75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8524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650E88-9412-4756-B6EB-D1530786D708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525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60"/>
            <a:ext cx="2311400" cy="365125"/>
          </a:xfrm>
          <a:prstGeom prst="rect">
            <a:avLst/>
          </a:prstGeom>
        </p:spPr>
        <p:txBody>
          <a:bodyPr/>
          <a:lstStyle/>
          <a:p>
            <a:fld id="{6A6EDE33-5CC6-420D-B151-65162C1F4D2E}" type="datetime1">
              <a:rPr lang="ko-KR" altLang="en-US" smtClean="0"/>
              <a:pPr/>
              <a:t>2012-12-06</a:t>
            </a:fld>
            <a:endParaRPr lang="ko-KR" altLang="en-US"/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60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60"/>
            <a:ext cx="2311400" cy="365125"/>
          </a:xfrm>
          <a:prstGeom prst="rect">
            <a:avLst/>
          </a:prstGeom>
        </p:spPr>
        <p:txBody>
          <a:bodyPr/>
          <a:lstStyle/>
          <a:p>
            <a:fld id="{A0940576-2A20-42D9-95AF-32EAD642DBCD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742950" y="1981200"/>
            <a:ext cx="41275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981200"/>
            <a:ext cx="41275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55F973-7685-4E11-BCEB-B8502B5F459D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8584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58F6A3-32AA-45FA-BA69-E1FE444FC69C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144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F282FF-684A-46EC-B78F-163439B067A5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3642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DE24B0B-8B1A-4F24-88F2-8566FABFF688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9011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A18226-28A8-45FF-8C0B-8CAD6B8E023C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3144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F55100-4CDC-41D4-8E4D-397E271BEF08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9832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58F04C-FE47-4BAB-9CA1-23C280897A2F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691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609600"/>
            <a:ext cx="2228850" cy="5486400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609600"/>
            <a:ext cx="6521450" cy="5486400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8C956D-8DC7-4495-AB24-0F9B78D00A3D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2963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0"/>
            <a:ext cx="8420100" cy="1470025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CF7C58-742A-4350-BA89-F4AB8C6F5D97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258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D34815E-9179-4285-AD39-3EEB063DEA75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3223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650E88-9412-4756-B6EB-D1530786D708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3574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742950" y="1981200"/>
            <a:ext cx="41275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981200"/>
            <a:ext cx="41275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55F973-7685-4E11-BCEB-B8502B5F459D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4004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58F6A3-32AA-45FA-BA69-E1FE444FC69C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9937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F282FF-684A-46EC-B78F-163439B067A5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6400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DE24B0B-8B1A-4F24-88F2-8566FABFF688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4413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2" y="273055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FA18226-28A8-45FF-8C0B-8CAD6B8E023C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9725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F55100-4CDC-41D4-8E4D-397E271BEF08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6461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58F04C-FE47-4BAB-9CA1-23C280897A2F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5232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609600"/>
            <a:ext cx="2228850" cy="5486400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609600"/>
            <a:ext cx="6521450" cy="5486400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18C956D-8DC7-4495-AB24-0F9B78D00A3D}" type="slidenum">
              <a:rPr lang="en-US" altLang="ko-KR">
                <a:solidFill>
                  <a:srgbClr val="000000"/>
                </a:solidFill>
              </a:rPr>
              <a:pPr/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3251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30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25100194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5"/>
          <p:cNvSpPr>
            <a:spLocks noChangeArrowheads="1"/>
          </p:cNvSpPr>
          <p:nvPr/>
        </p:nvSpPr>
        <p:spPr bwMode="gray">
          <a:xfrm>
            <a:off x="2342360" y="6408738"/>
            <a:ext cx="5183452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latinLnBrk="0"/>
            <a:endParaRPr kumimoji="0" lang="ko-KR" altLang="en-US" sz="1000" noProof="1">
              <a:solidFill>
                <a:srgbClr val="000000"/>
              </a:solidFill>
              <a:latin typeface="Arial" pitchFamily="34" charset="0"/>
              <a:ea typeface="+mn-ea"/>
            </a:endParaRPr>
          </a:p>
        </p:txBody>
      </p:sp>
      <p:sp>
        <p:nvSpPr>
          <p:cNvPr id="11269" name="Rectangle 10"/>
          <p:cNvSpPr>
            <a:spLocks noGrp="1" noChangeArrowheads="1"/>
          </p:cNvSpPr>
          <p:nvPr>
            <p:ph type="ftr" sz="quarter" idx="3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3D2819FB-8DD8-44C9-BFF8-EAE75292E157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271" name="Rectangle 7"/>
          <p:cNvSpPr>
            <a:spLocks noChangeArrowheads="1"/>
          </p:cNvSpPr>
          <p:nvPr/>
        </p:nvSpPr>
        <p:spPr bwMode="gray">
          <a:xfrm>
            <a:off x="7787216" y="6184911"/>
            <a:ext cx="1783425" cy="377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defRPr/>
            </a:pPr>
            <a:r>
              <a:rPr kumimoji="0" lang="de-DE" sz="1600" b="1">
                <a:solidFill>
                  <a:srgbClr val="000000"/>
                </a:solidFill>
                <a:latin typeface="Arial" charset="0"/>
                <a:ea typeface="+mn-ea"/>
              </a:rPr>
              <a:t>YOUR LOGO</a:t>
            </a:r>
          </a:p>
        </p:txBody>
      </p:sp>
      <p:pic>
        <p:nvPicPr>
          <p:cNvPr id="31757" name="Picture 3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440" y="3433763"/>
            <a:ext cx="9914600" cy="25717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31754" name="Rectangle 7"/>
          <p:cNvSpPr>
            <a:spLocks noGrp="1" noChangeArrowheads="1"/>
          </p:cNvSpPr>
          <p:nvPr>
            <p:ph type="ctrTitle"/>
          </p:nvPr>
        </p:nvSpPr>
        <p:spPr>
          <a:xfrm>
            <a:off x="935567" y="3930650"/>
            <a:ext cx="8108818" cy="960438"/>
          </a:xfrm>
        </p:spPr>
        <p:txBody>
          <a:bodyPr anchor="t"/>
          <a:lstStyle>
            <a:lvl1pPr>
              <a:defRPr sz="3200" smtClean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</a:p>
        </p:txBody>
      </p:sp>
      <p:sp>
        <p:nvSpPr>
          <p:cNvPr id="31755" name="Rectangle 12"/>
          <p:cNvSpPr>
            <a:spLocks noGrp="1" noChangeArrowheads="1"/>
          </p:cNvSpPr>
          <p:nvPr>
            <p:ph type="subTitle" idx="1"/>
          </p:nvPr>
        </p:nvSpPr>
        <p:spPr>
          <a:xfrm>
            <a:off x="935573" y="5122863"/>
            <a:ext cx="8136335" cy="8001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200" b="0" smtClean="0">
                <a:solidFill>
                  <a:srgbClr val="000000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9754973"/>
      </p:ext>
    </p:extLst>
  </p:cSld>
  <p:clrMapOvr>
    <a:masterClrMapping/>
  </p:clrMapOvr>
  <p:transition spd="med">
    <p:fade/>
  </p:transition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5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2273896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5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5963785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5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5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9595940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430684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8903871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9343602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2" y="273055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5261617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8167284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5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3374123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43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43"/>
            <a:ext cx="65214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769230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E6D5DE5D-1891-427F-ABC7-8B955D343208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31143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25399025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292938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6968061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81798554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759014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29945483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28082886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3437662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ko-KR" alt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22802868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10335492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D7FB66FC-6C9D-4820-8C94-8AA8B24D64A1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915519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AF8F4B3-3BC5-4CDA-B540-D2203FC880D5}" type="datetimeFigureOut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2-12-06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BCF1E9A-5C5E-4216-90F5-7A392A848D81}" type="slidenum">
              <a:rPr kumimoji="0" lang="ko-KR" altLang="en-US" sz="1800" smtClean="0">
                <a:solidFill>
                  <a:prstClr val="black"/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143092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0521" y="1614493"/>
            <a:ext cx="4535091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40716" y="1614493"/>
            <a:ext cx="4535090" cy="43910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2E30BE89-0C1D-4BBA-8B45-72F643B66987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31194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95C350C5-06C3-44D0-9435-903C2D062204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659896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>
                <a:solidFill>
                  <a:srgbClr val="000000"/>
                </a:solidFill>
              </a:rPr>
              <a:t>Page </a:t>
            </a:r>
            <a:r>
              <a:rPr lang="de-DE">
                <a:solidFill>
                  <a:srgbClr val="000000"/>
                </a:solidFill>
                <a:sym typeface="Wingdings" pitchFamily="2" charset="2"/>
              </a:rPr>
              <a:t></a:t>
            </a:r>
            <a:r>
              <a:rPr lang="de-DE">
                <a:solidFill>
                  <a:srgbClr val="000000"/>
                </a:solidFill>
              </a:rPr>
              <a:t> </a:t>
            </a:r>
            <a:fld id="{63E724E1-D9CD-4985-98FB-F62E65A146D5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4841546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gi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.gif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6.xml"/><Relationship Id="rId4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192098"/>
            <a:ext cx="9906000" cy="465137"/>
          </a:xfrm>
          <a:prstGeom prst="rect">
            <a:avLst/>
          </a:prstGeom>
          <a:solidFill>
            <a:srgbClr val="EAEAEA"/>
          </a:solidFill>
          <a:ln w="9525">
            <a:solidFill>
              <a:srgbClr val="C8CFD7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ko-KR" altLang="ko-KR">
              <a:solidFill>
                <a:schemeClr val="bg1"/>
              </a:solidFill>
              <a:latin typeface="Arial" charset="0"/>
              <a:ea typeface="HY견고딕" pitchFamily="18" charset="-127"/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33338"/>
            <a:ext cx="9906000" cy="146050"/>
          </a:xfrm>
          <a:prstGeom prst="rect">
            <a:avLst/>
          </a:prstGeom>
          <a:solidFill>
            <a:srgbClr val="003668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ko-KR" altLang="en-US" sz="1100">
              <a:solidFill>
                <a:schemeClr val="tx1"/>
              </a:solidFill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142060" y="260658"/>
            <a:ext cx="9635480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54864" tIns="0" rIns="0" bIns="0" anchor="ctr">
            <a:spAutoFit/>
          </a:bodyPr>
          <a:lstStyle/>
          <a:p>
            <a:pPr lvl="0" algn="l" rtl="0" eaLnBrk="0" fontAlgn="base" latinLnBrk="0" hangingPunct="0">
              <a:spcBef>
                <a:spcPct val="50000"/>
              </a:spcBef>
              <a:spcAft>
                <a:spcPct val="0"/>
              </a:spcAft>
              <a:tabLst>
                <a:tab pos="311150" algn="l"/>
              </a:tabLst>
            </a:pPr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142057" y="728700"/>
            <a:ext cx="9621888" cy="576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3797300" y="6564906"/>
            <a:ext cx="2311400" cy="248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fontAlgn="base" latinLnBrk="1">
              <a:spcBef>
                <a:spcPct val="0"/>
              </a:spcBef>
              <a:spcAft>
                <a:spcPct val="0"/>
              </a:spcAft>
              <a:buFontTx/>
              <a:buNone/>
              <a:defRPr kumimoji="1" lang="en-US" altLang="ko-KR" sz="1200" b="1" kern="1200" smtClean="0">
                <a:solidFill>
                  <a:srgbClr val="202A38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eaLnBrk="0" hangingPunct="0">
              <a:tabLst>
                <a:tab pos="311150" algn="l"/>
              </a:tabLst>
              <a:defRPr/>
            </a:pPr>
            <a:fld id="{1C47CA80-6484-42A6-9781-E72C38E28267}" type="slidenum">
              <a:rPr lang="en-US" altLang="ko-KR" smtClean="0"/>
              <a:pPr eaLnBrk="0" hangingPunct="0">
                <a:tabLst>
                  <a:tab pos="311150" algn="l"/>
                </a:tabLst>
                <a:defRPr/>
              </a:pPr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40" r:id="rId1"/>
  </p:sldLayoutIdLst>
  <p:hf sldNum="0" hdr="0" ftr="0" dt="0"/>
  <p:txStyles>
    <p:titleStyle>
      <a:lvl1pPr algn="ctr" defTabSz="914400" rtl="0" eaLnBrk="1" latinLnBrk="1" hangingPunct="1">
        <a:spcBef>
          <a:spcPct val="0"/>
        </a:spcBef>
        <a:buNone/>
        <a:defRPr kumimoji="0" lang="ko-KR" altLang="en-US" sz="2000" b="1" kern="1200" dirty="0" smtClean="0">
          <a:solidFill>
            <a:srgbClr val="2B3749"/>
          </a:solidFill>
          <a:latin typeface="Arial" charset="0"/>
          <a:ea typeface="맑은 고딕" pitchFamily="50" charset="-127"/>
          <a:cs typeface="+mn-cs"/>
        </a:defRPr>
      </a:lvl1pPr>
    </p:titleStyle>
    <p:bodyStyle>
      <a:lvl1pPr marL="342900" indent="-34290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맑은 고딕" pitchFamily="50" charset="-127"/>
        <a:buChar char="■"/>
        <a:defRPr kumimoji="1" lang="ko-KR" altLang="en-US" sz="18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742950" indent="-28575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Arial" pitchFamily="34" charset="0"/>
        <a:buChar char="–"/>
        <a:defRPr kumimoji="1" lang="ko-KR" altLang="en-US" sz="16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1143000" indent="-22860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Arial" pitchFamily="34" charset="0"/>
        <a:buChar char="•"/>
        <a:defRPr kumimoji="1" lang="ko-KR" altLang="en-US" sz="14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1600200" indent="-22860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Wingdings" pitchFamily="2" charset="2"/>
        <a:buChar char="ü"/>
        <a:defRPr kumimoji="1" lang="ko-KR" altLang="en-US" sz="12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2057400" indent="-22860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Arial" pitchFamily="34" charset="0"/>
        <a:buChar char="»"/>
        <a:defRPr kumimoji="1" lang="ko-KR" altLang="en-US" sz="1200" kern="1200" dirty="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03" y="6630723"/>
            <a:ext cx="2822872" cy="137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239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  <p:sldLayoutId id="2147485034" r:id="rId5"/>
    <p:sldLayoutId id="2147485035" r:id="rId6"/>
    <p:sldLayoutId id="2147485036" r:id="rId7"/>
    <p:sldLayoutId id="2147485037" r:id="rId8"/>
    <p:sldLayoutId id="2147485038" r:id="rId9"/>
    <p:sldLayoutId id="2147485039" r:id="rId10"/>
    <p:sldLayoutId id="2147485040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Grp="1" noChangeArrowheads="1"/>
          </p:cNvSpPr>
          <p:nvPr>
            <p:ph type="sldNum" sz="quarter" idx="4"/>
            <p:custDataLst>
              <p:tags r:id="rId3"/>
            </p:custDataLst>
          </p:nvPr>
        </p:nvSpPr>
        <p:spPr bwMode="auto">
          <a:xfrm>
            <a:off x="4579938" y="6542088"/>
            <a:ext cx="792162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 b="1">
                <a:solidFill>
                  <a:srgbClr val="202A38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1D32444B-AFC1-4149-826D-10CF4068FF1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2" name="Rectangle 22"/>
          <p:cNvSpPr>
            <a:spLocks noChangeArrowheads="1"/>
          </p:cNvSpPr>
          <p:nvPr/>
        </p:nvSpPr>
        <p:spPr bwMode="auto">
          <a:xfrm>
            <a:off x="903288" y="3290504"/>
            <a:ext cx="195262" cy="276999"/>
          </a:xfrm>
          <a:prstGeom prst="rect">
            <a:avLst/>
          </a:prstGeom>
          <a:solidFill>
            <a:srgbClr val="425773"/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n"/>
            </a:pPr>
            <a:endParaRPr lang="ko-KR" altLang="en-US"/>
          </a:p>
        </p:txBody>
      </p:sp>
      <p:sp>
        <p:nvSpPr>
          <p:cNvPr id="13" name="Rectangle 23"/>
          <p:cNvSpPr>
            <a:spLocks noChangeArrowheads="1"/>
          </p:cNvSpPr>
          <p:nvPr/>
        </p:nvSpPr>
        <p:spPr bwMode="auto">
          <a:xfrm>
            <a:off x="5" y="3296850"/>
            <a:ext cx="839788" cy="276999"/>
          </a:xfrm>
          <a:prstGeom prst="rect">
            <a:avLst/>
          </a:prstGeom>
          <a:solidFill>
            <a:srgbClr val="202A38"/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n"/>
            </a:pPr>
            <a:endParaRPr lang="ko-KR" altLang="en-US"/>
          </a:p>
        </p:txBody>
      </p:sp>
      <p:pic>
        <p:nvPicPr>
          <p:cNvPr id="6" name="Picture 2" descr="POSTECH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00991" y="6615457"/>
            <a:ext cx="2876550" cy="161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914" r:id="rId1"/>
  </p:sldLayoutIdLst>
  <p:hf sldNum="0" hdr="0" ftr="0" dt="0"/>
  <p:txStyles>
    <p:titleStyle>
      <a:lvl1pPr algn="l" defTabSz="914400" rtl="0" eaLnBrk="1" fontAlgn="base" latinLnBrk="0" hangingPunct="1">
        <a:spcBef>
          <a:spcPct val="50000"/>
        </a:spcBef>
        <a:spcAft>
          <a:spcPct val="0"/>
        </a:spcAft>
        <a:buNone/>
        <a:tabLst>
          <a:tab pos="311150" algn="l"/>
        </a:tabLst>
        <a:defRPr kumimoji="0" lang="ko-KR" altLang="en-US" sz="2000" b="1" kern="1200" smtClean="0">
          <a:solidFill>
            <a:srgbClr val="2B3749"/>
          </a:solidFill>
          <a:latin typeface="Arial" charset="0"/>
          <a:ea typeface="맑은 고딕" pitchFamily="50" charset="-127"/>
          <a:cs typeface="+mn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4"/>
          <p:cNvSpPr>
            <a:spLocks noChangeArrowheads="1"/>
          </p:cNvSpPr>
          <p:nvPr/>
        </p:nvSpPr>
        <p:spPr bwMode="auto">
          <a:xfrm>
            <a:off x="-15547" y="0"/>
            <a:ext cx="4881563" cy="6858000"/>
          </a:xfrm>
          <a:prstGeom prst="rect">
            <a:avLst/>
          </a:prstGeom>
          <a:solidFill>
            <a:srgbClr val="2B3749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latinLnBrk="0">
              <a:spcBef>
                <a:spcPct val="50000"/>
              </a:spcBef>
              <a:defRPr/>
            </a:pPr>
            <a:endParaRPr kumimoji="0" lang="ko-KR" altLang="en-US" sz="1400" b="1">
              <a:solidFill>
                <a:schemeClr val="tx1"/>
              </a:solidFill>
              <a:latin typeface="Arial" charset="0"/>
              <a:ea typeface="가는각진제목체" pitchFamily="18" charset="-127"/>
            </a:endParaRPr>
          </a:p>
        </p:txBody>
      </p:sp>
      <p:sp>
        <p:nvSpPr>
          <p:cNvPr id="21" name="Rectangle 24"/>
          <p:cNvSpPr>
            <a:spLocks noChangeArrowheads="1"/>
          </p:cNvSpPr>
          <p:nvPr/>
        </p:nvSpPr>
        <p:spPr bwMode="auto">
          <a:xfrm>
            <a:off x="4862090" y="3162896"/>
            <a:ext cx="181821" cy="30995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spAutoFit/>
          </a:bodyPr>
          <a:lstStyle/>
          <a:p>
            <a:pPr algn="ctr" latinLnBrk="0">
              <a:spcBef>
                <a:spcPct val="50000"/>
              </a:spcBef>
              <a:defRPr/>
            </a:pPr>
            <a:endParaRPr kumimoji="0" lang="ko-KR" altLang="en-US" sz="1400" b="1">
              <a:solidFill>
                <a:schemeClr val="tx1"/>
              </a:solidFill>
              <a:latin typeface="Arial" charset="0"/>
              <a:ea typeface="가는각진제목체" pitchFamily="18" charset="-127"/>
            </a:endParaRPr>
          </a:p>
        </p:txBody>
      </p:sp>
      <p:pic>
        <p:nvPicPr>
          <p:cNvPr id="4" name="Picture 2" descr="POSTECH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00991" y="6615457"/>
            <a:ext cx="2876550" cy="161925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900" r:id="rId1"/>
  </p:sldLayoutIdLst>
  <p:hf sldNum="0" hdr="0" ftr="0" dt="0"/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굴림" pitchFamily="50" charset="-127"/>
          <a:ea typeface="굴림" pitchFamily="50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굴림" pitchFamily="50" charset="-127"/>
          <a:ea typeface="굴림" pitchFamily="50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굴림" pitchFamily="50" charset="-127"/>
          <a:ea typeface="굴림" pitchFamily="50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굴림" pitchFamily="50" charset="-127"/>
          <a:ea typeface="굴림" pitchFamily="50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굴림" pitchFamily="50" charset="-127"/>
          <a:ea typeface="굴림" pitchFamily="50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굴림" pitchFamily="50" charset="-127"/>
          <a:ea typeface="굴림" pitchFamily="50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굴림" pitchFamily="50" charset="-127"/>
          <a:ea typeface="굴림" pitchFamily="50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1600">
          <a:solidFill>
            <a:schemeClr val="tx1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defTabSz="900113" rtl="0" eaLnBrk="0" fontAlgn="base" latinLnBrk="1" hangingPunct="0">
        <a:spcBef>
          <a:spcPts val="1500"/>
        </a:spcBef>
        <a:spcAft>
          <a:spcPct val="0"/>
        </a:spcAft>
        <a:buClr>
          <a:schemeClr val="tx1"/>
        </a:buClr>
        <a:buFont typeface="Wingdings" pitchFamily="2" charset="2"/>
        <a:buChar char="•"/>
        <a:defRPr kumimoji="1" sz="1400">
          <a:solidFill>
            <a:schemeClr val="tx1"/>
          </a:solidFill>
          <a:latin typeface="+mn-lt"/>
          <a:ea typeface="+mn-ea"/>
          <a:cs typeface="+mn-cs"/>
        </a:defRPr>
      </a:lvl1pPr>
      <a:lvl2pPr marL="284163" indent="-282575" algn="l" defTabSz="900113" rtl="0" eaLnBrk="0" fontAlgn="base" latinLnBrk="1" hangingPunct="0">
        <a:spcBef>
          <a:spcPts val="1000"/>
        </a:spcBef>
        <a:spcAft>
          <a:spcPct val="0"/>
        </a:spcAft>
        <a:buClr>
          <a:schemeClr val="tx1"/>
        </a:buClr>
        <a:buFont typeface="Wingdings" pitchFamily="2" charset="2"/>
        <a:buChar char="n"/>
        <a:defRPr kumimoji="1" sz="1400">
          <a:solidFill>
            <a:schemeClr val="tx1"/>
          </a:solidFill>
          <a:latin typeface="+mn-lt"/>
          <a:ea typeface="+mn-ea"/>
        </a:defRPr>
      </a:lvl2pPr>
      <a:lvl3pPr marL="542925" indent="-257175" algn="l" defTabSz="900113" rtl="0" eaLnBrk="0" fontAlgn="base" latinLnBrk="1" hangingPunct="0">
        <a:spcBef>
          <a:spcPts val="500"/>
        </a:spcBef>
        <a:spcAft>
          <a:spcPct val="0"/>
        </a:spcAft>
        <a:buClr>
          <a:schemeClr val="tx1"/>
        </a:buClr>
        <a:buFont typeface="맑은 고딕" pitchFamily="50" charset="-127"/>
        <a:buChar char="–"/>
        <a:defRPr kumimoji="1" sz="1400">
          <a:solidFill>
            <a:schemeClr val="tx1"/>
          </a:solidFill>
          <a:latin typeface="+mn-lt"/>
          <a:ea typeface="+mn-ea"/>
        </a:defRPr>
      </a:lvl3pPr>
      <a:lvl4pPr marL="814388" indent="-269875" algn="l" defTabSz="900113" rtl="0" eaLnBrk="0" fontAlgn="base" latinLnBrk="1" hangingPunct="0">
        <a:spcBef>
          <a:spcPts val="500"/>
        </a:spcBef>
        <a:spcAft>
          <a:spcPct val="0"/>
        </a:spcAft>
        <a:buClr>
          <a:schemeClr val="tx1"/>
        </a:buClr>
        <a:buFont typeface="맑은 고딕" pitchFamily="50" charset="-127"/>
        <a:buChar char="–"/>
        <a:defRPr kumimoji="1" sz="1400">
          <a:solidFill>
            <a:schemeClr val="tx1"/>
          </a:solidFill>
          <a:latin typeface="+mn-lt"/>
          <a:ea typeface="+mn-ea"/>
        </a:defRPr>
      </a:lvl4pPr>
      <a:lvl5pPr marL="1104900" indent="-288925" algn="l" defTabSz="900113" rtl="0" eaLnBrk="0" fontAlgn="base" latinLnBrk="1" hangingPunct="0">
        <a:spcBef>
          <a:spcPts val="500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400">
          <a:solidFill>
            <a:schemeClr val="tx1"/>
          </a:solidFill>
          <a:latin typeface="+mn-lt"/>
          <a:ea typeface="+mn-ea"/>
        </a:defRPr>
      </a:lvl5pPr>
      <a:lvl6pPr marL="1562100" indent="-288925" algn="l" defTabSz="900113" rtl="0" fontAlgn="base" latinLnBrk="1">
        <a:spcBef>
          <a:spcPts val="500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400">
          <a:solidFill>
            <a:schemeClr val="tx1"/>
          </a:solidFill>
          <a:latin typeface="+mn-lt"/>
          <a:ea typeface="+mn-ea"/>
        </a:defRPr>
      </a:lvl6pPr>
      <a:lvl7pPr marL="2019300" indent="-288925" algn="l" defTabSz="900113" rtl="0" fontAlgn="base" latinLnBrk="1">
        <a:spcBef>
          <a:spcPts val="500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400">
          <a:solidFill>
            <a:schemeClr val="tx1"/>
          </a:solidFill>
          <a:latin typeface="+mn-lt"/>
          <a:ea typeface="+mn-ea"/>
        </a:defRPr>
      </a:lvl7pPr>
      <a:lvl8pPr marL="2476500" indent="-288925" algn="l" defTabSz="900113" rtl="0" fontAlgn="base" latinLnBrk="1">
        <a:spcBef>
          <a:spcPts val="500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400">
          <a:solidFill>
            <a:schemeClr val="tx1"/>
          </a:solidFill>
          <a:latin typeface="+mn-lt"/>
          <a:ea typeface="+mn-ea"/>
        </a:defRPr>
      </a:lvl8pPr>
      <a:lvl9pPr marL="2933700" indent="-288925" algn="l" defTabSz="900113" rtl="0" fontAlgn="base" latinLnBrk="1">
        <a:spcBef>
          <a:spcPts val="500"/>
        </a:spcBef>
        <a:spcAft>
          <a:spcPct val="0"/>
        </a:spcAft>
        <a:buClr>
          <a:schemeClr val="tx1"/>
        </a:buClr>
        <a:buFont typeface="맑은 고딕" pitchFamily="50" charset="-127"/>
        <a:buChar char="»"/>
        <a:defRPr kumimoji="1"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Rectangle 5"/>
          <p:cNvSpPr>
            <a:spLocks noChangeArrowheads="1"/>
          </p:cNvSpPr>
          <p:nvPr/>
        </p:nvSpPr>
        <p:spPr bwMode="gray">
          <a:xfrm>
            <a:off x="2342360" y="6408738"/>
            <a:ext cx="5183452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latinLnBrk="0"/>
            <a:endParaRPr kumimoji="0" lang="ko-KR" altLang="en-US" sz="1000" noProof="1">
              <a:solidFill>
                <a:srgbClr val="000000"/>
              </a:solidFill>
              <a:latin typeface="Arial" pitchFamily="34" charset="0"/>
              <a:ea typeface="+mn-ea"/>
            </a:endParaRPr>
          </a:p>
        </p:txBody>
      </p:sp>
      <p:sp>
        <p:nvSpPr>
          <p:cNvPr id="1028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40525" y="119074"/>
            <a:ext cx="600207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1269" name="Rectangle 10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37337" y="6408738"/>
            <a:ext cx="1454944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/>
            </a:lvl1pPr>
          </a:lstStyle>
          <a:p>
            <a:pPr latinLnBrk="0"/>
            <a:r>
              <a:rPr kumimoji="0" lang="de-DE">
                <a:solidFill>
                  <a:srgbClr val="000000"/>
                </a:solidFill>
                <a:latin typeface="Arial" pitchFamily="34" charset="0"/>
                <a:ea typeface="+mn-ea"/>
              </a:rPr>
              <a:t>Page </a:t>
            </a:r>
            <a:r>
              <a:rPr kumimoji="0" lang="de-DE">
                <a:solidFill>
                  <a:srgbClr val="000000"/>
                </a:solidFill>
                <a:latin typeface="Arial" pitchFamily="34" charset="0"/>
                <a:ea typeface="+mn-ea"/>
                <a:sym typeface="Wingdings" pitchFamily="2" charset="2"/>
              </a:rPr>
              <a:t></a:t>
            </a:r>
            <a:r>
              <a:rPr kumimoji="0" lang="de-DE">
                <a:solidFill>
                  <a:srgbClr val="000000"/>
                </a:solidFill>
                <a:latin typeface="Arial" pitchFamily="34" charset="0"/>
                <a:ea typeface="+mn-ea"/>
              </a:rPr>
              <a:t> </a:t>
            </a:r>
            <a:fld id="{CDEA3B7A-47D1-4928-A7E3-027A6B7D4E4E}" type="slidenum">
              <a:rPr kumimoji="0" lang="de-DE">
                <a:solidFill>
                  <a:srgbClr val="000000"/>
                </a:solidFill>
                <a:latin typeface="Arial" pitchFamily="34" charset="0"/>
                <a:ea typeface="+mn-ea"/>
              </a:rPr>
              <a:pPr latinLnBrk="0"/>
              <a:t>‹#›</a:t>
            </a:fld>
            <a:endParaRPr kumimoji="0" lang="de-DE">
              <a:solidFill>
                <a:srgbClr val="000000"/>
              </a:solidFill>
              <a:latin typeface="Arial" pitchFamily="34" charset="0"/>
              <a:ea typeface="+mn-ea"/>
            </a:endParaRPr>
          </a:p>
        </p:txBody>
      </p:sp>
      <p:sp>
        <p:nvSpPr>
          <p:cNvPr id="1030" name="Rectangle 12"/>
          <p:cNvSpPr>
            <a:spLocks noGrp="1" noChangeArrowheads="1"/>
          </p:cNvSpPr>
          <p:nvPr>
            <p:ph type="body" idx="1"/>
          </p:nvPr>
        </p:nvSpPr>
        <p:spPr bwMode="gray">
          <a:xfrm>
            <a:off x="340525" y="1614493"/>
            <a:ext cx="9235281" cy="439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11271" name="Rectangle 7"/>
          <p:cNvSpPr>
            <a:spLocks noChangeArrowheads="1"/>
          </p:cNvSpPr>
          <p:nvPr/>
        </p:nvSpPr>
        <p:spPr bwMode="gray">
          <a:xfrm>
            <a:off x="7787216" y="6184911"/>
            <a:ext cx="1783425" cy="377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0" scaled="1"/>
          </a:gradFill>
          <a:ln w="9525">
            <a:solidFill>
              <a:srgbClr val="96969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latinLnBrk="0" hangingPunct="0">
              <a:defRPr/>
            </a:pPr>
            <a:r>
              <a:rPr kumimoji="0" lang="de-DE" sz="1600" b="1">
                <a:solidFill>
                  <a:srgbClr val="000000"/>
                </a:solidFill>
                <a:latin typeface="Arial" charset="0"/>
                <a:ea typeface="+mn-ea"/>
              </a:rPr>
              <a:t>YOUR LOGO</a:t>
            </a:r>
          </a:p>
        </p:txBody>
      </p:sp>
    </p:spTree>
    <p:extLst>
      <p:ext uri="{BB962C8B-B14F-4D97-AF65-F5344CB8AC3E}">
        <p14:creationId xmlns:p14="http://schemas.microsoft.com/office/powerpoint/2010/main" val="912117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2" r:id="rId1"/>
    <p:sldLayoutId id="2147484943" r:id="rId2"/>
    <p:sldLayoutId id="2147484944" r:id="rId3"/>
    <p:sldLayoutId id="2147484945" r:id="rId4"/>
    <p:sldLayoutId id="2147484946" r:id="rId5"/>
    <p:sldLayoutId id="2147484947" r:id="rId6"/>
    <p:sldLayoutId id="2147484948" r:id="rId7"/>
    <p:sldLayoutId id="2147484949" r:id="rId8"/>
    <p:sldLayoutId id="2147484950" r:id="rId9"/>
    <p:sldLayoutId id="2147484951" r:id="rId10"/>
    <p:sldLayoutId id="2147484952" r:id="rId11"/>
  </p:sldLayoutIdLst>
  <p:transition spd="med">
    <p:fade/>
  </p:transition>
  <p:hf sldNum="0" hd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5pPr>
      <a:lvl6pPr marL="4572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6pPr>
      <a:lvl7pPr marL="9144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7pPr>
      <a:lvl8pPr marL="13716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8pPr>
      <a:lvl9pPr marL="1828800"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rgbClr val="FFFFFF"/>
          </a:solidFill>
          <a:latin typeface="Arial" charset="0"/>
        </a:defRPr>
      </a:lvl9pPr>
    </p:titleStyle>
    <p:bodyStyle>
      <a:lvl1pPr marL="190500" indent="-190500" algn="l" rtl="0" eaLnBrk="0" fontAlgn="base" hangingPunct="0">
        <a:spcBef>
          <a:spcPct val="6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Char char="-"/>
        <a:defRPr sz="2800">
          <a:solidFill>
            <a:schemeClr val="tx1"/>
          </a:solidFill>
          <a:latin typeface="+mn-lt"/>
        </a:defRPr>
      </a:lvl2pPr>
      <a:lvl3pPr marL="561975" indent="-179388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Char char="-"/>
        <a:defRPr sz="1600">
          <a:solidFill>
            <a:schemeClr val="tx1"/>
          </a:solidFill>
          <a:latin typeface="+mn-lt"/>
        </a:defRPr>
      </a:lvl3pPr>
      <a:lvl4pPr marL="768350" indent="-204788" algn="l" rtl="0" eaLnBrk="0" fontAlgn="base" hangingPunct="0">
        <a:spcBef>
          <a:spcPct val="30000"/>
        </a:spcBef>
        <a:spcAft>
          <a:spcPct val="0"/>
        </a:spcAft>
        <a:buClr>
          <a:schemeClr val="accent1"/>
        </a:buClr>
        <a:buChar char="-"/>
        <a:defRPr sz="1600">
          <a:solidFill>
            <a:schemeClr val="tx1"/>
          </a:solidFill>
          <a:latin typeface="+mn-lt"/>
        </a:defRPr>
      </a:lvl4pPr>
      <a:lvl5pPr marL="10509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5pPr>
      <a:lvl6pPr marL="15081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6pPr>
      <a:lvl7pPr marL="19653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7pPr>
      <a:lvl8pPr marL="24225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8pPr>
      <a:lvl9pPr marL="2879725" indent="-16827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/>
          <p:cNvSpPr>
            <a:spLocks noGrp="1" noChangeArrowheads="1"/>
          </p:cNvSpPr>
          <p:nvPr>
            <p:ph type="sldNum" sz="quarter" idx="4"/>
            <p:custDataLst>
              <p:tags r:id="rId3"/>
            </p:custDataLst>
          </p:nvPr>
        </p:nvSpPr>
        <p:spPr bwMode="auto">
          <a:xfrm>
            <a:off x="4579938" y="6542088"/>
            <a:ext cx="792162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200" b="1">
                <a:solidFill>
                  <a:srgbClr val="202A38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1D32444B-AFC1-4149-826D-10CF4068FF1C}" type="slidenum">
              <a:rPr lang="en-US" altLang="ko-KR"/>
              <a:pPr>
                <a:defRPr/>
              </a:pPr>
              <a:t>‹#›</a:t>
            </a:fld>
            <a:endParaRPr lang="en-US" altLang="ko-KR" dirty="0"/>
          </a:p>
        </p:txBody>
      </p:sp>
      <p:sp>
        <p:nvSpPr>
          <p:cNvPr id="12" name="Rectangle 22"/>
          <p:cNvSpPr>
            <a:spLocks noChangeArrowheads="1"/>
          </p:cNvSpPr>
          <p:nvPr/>
        </p:nvSpPr>
        <p:spPr bwMode="auto">
          <a:xfrm>
            <a:off x="903288" y="3290504"/>
            <a:ext cx="195262" cy="276999"/>
          </a:xfrm>
          <a:prstGeom prst="rect">
            <a:avLst/>
          </a:prstGeom>
          <a:solidFill>
            <a:srgbClr val="425773"/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n"/>
            </a:pPr>
            <a:endParaRPr lang="ko-KR" altLang="en-US"/>
          </a:p>
        </p:txBody>
      </p:sp>
      <p:sp>
        <p:nvSpPr>
          <p:cNvPr id="13" name="Rectangle 23"/>
          <p:cNvSpPr>
            <a:spLocks noChangeArrowheads="1"/>
          </p:cNvSpPr>
          <p:nvPr/>
        </p:nvSpPr>
        <p:spPr bwMode="auto">
          <a:xfrm>
            <a:off x="4" y="3296850"/>
            <a:ext cx="839788" cy="276999"/>
          </a:xfrm>
          <a:prstGeom prst="rect">
            <a:avLst/>
          </a:prstGeom>
          <a:solidFill>
            <a:srgbClr val="202A38"/>
          </a:solidFill>
          <a:ln w="952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n"/>
            </a:pPr>
            <a:endParaRPr lang="ko-KR" altLang="en-US"/>
          </a:p>
        </p:txBody>
      </p:sp>
      <p:pic>
        <p:nvPicPr>
          <p:cNvPr id="6" name="Picture 2" descr="POSTECH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00990" y="6615455"/>
            <a:ext cx="2876550" cy="1619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51439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0" r:id="rId1"/>
  </p:sldLayoutIdLst>
  <p:hf sldNum="0" hdr="0" ftr="0" dt="0"/>
  <p:txStyles>
    <p:titleStyle>
      <a:lvl1pPr algn="l" defTabSz="914400" rtl="0" eaLnBrk="1" fontAlgn="base" latinLnBrk="0" hangingPunct="1">
        <a:spcBef>
          <a:spcPct val="50000"/>
        </a:spcBef>
        <a:spcAft>
          <a:spcPct val="0"/>
        </a:spcAft>
        <a:buNone/>
        <a:tabLst>
          <a:tab pos="311150" algn="l"/>
        </a:tabLst>
        <a:defRPr kumimoji="0" lang="ko-KR" altLang="en-US" sz="2000" b="1" kern="1200" smtClean="0">
          <a:solidFill>
            <a:srgbClr val="2B3749"/>
          </a:solidFill>
          <a:latin typeface="Arial" charset="0"/>
          <a:ea typeface="맑은 고딕" pitchFamily="50" charset="-127"/>
          <a:cs typeface="+mn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192096"/>
            <a:ext cx="9906000" cy="465137"/>
          </a:xfrm>
          <a:prstGeom prst="rect">
            <a:avLst/>
          </a:prstGeom>
          <a:solidFill>
            <a:srgbClr val="EAEAEA"/>
          </a:solidFill>
          <a:ln w="9525">
            <a:solidFill>
              <a:srgbClr val="C8CFD7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ko-KR" altLang="ko-KR">
              <a:solidFill>
                <a:prstClr val="white"/>
              </a:solidFill>
              <a:latin typeface="Arial" charset="0"/>
              <a:ea typeface="HY견고딕" pitchFamily="18" charset="-127"/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33338"/>
            <a:ext cx="9906000" cy="146050"/>
          </a:xfrm>
          <a:prstGeom prst="rect">
            <a:avLst/>
          </a:prstGeom>
          <a:solidFill>
            <a:srgbClr val="003668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ko-KR" altLang="en-US" sz="1100">
              <a:solidFill>
                <a:prstClr val="black"/>
              </a:solidFill>
            </a:endParaRPr>
          </a:p>
        </p:txBody>
      </p:sp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142060" y="260656"/>
            <a:ext cx="9635480" cy="30777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54864" tIns="0" rIns="0" bIns="0" anchor="ctr">
            <a:spAutoFit/>
          </a:bodyPr>
          <a:lstStyle/>
          <a:p>
            <a:pPr lvl="0" algn="l" rtl="0" eaLnBrk="0" fontAlgn="base" latinLnBrk="0" hangingPunct="0">
              <a:spcBef>
                <a:spcPct val="50000"/>
              </a:spcBef>
              <a:spcAft>
                <a:spcPct val="0"/>
              </a:spcAft>
              <a:tabLst>
                <a:tab pos="311150" algn="l"/>
              </a:tabLst>
            </a:pPr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142057" y="728700"/>
            <a:ext cx="9621888" cy="57606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ko-KR" altLang="en-US" dirty="0" smtClean="0"/>
              <a:t>마스터 텍스트 스타일을 편집합니다</a:t>
            </a:r>
          </a:p>
          <a:p>
            <a:pPr lvl="1"/>
            <a:r>
              <a:rPr lang="ko-KR" altLang="en-US" dirty="0" smtClean="0"/>
              <a:t>둘째 수준</a:t>
            </a:r>
          </a:p>
          <a:p>
            <a:pPr lvl="2"/>
            <a:r>
              <a:rPr lang="ko-KR" altLang="en-US" dirty="0" smtClean="0"/>
              <a:t>셋째 수준</a:t>
            </a:r>
          </a:p>
          <a:p>
            <a:pPr lvl="3"/>
            <a:r>
              <a:rPr lang="ko-KR" altLang="en-US" dirty="0" smtClean="0"/>
              <a:t>넷째 수준</a:t>
            </a:r>
          </a:p>
          <a:p>
            <a:pPr lvl="4"/>
            <a:r>
              <a:rPr lang="ko-KR" altLang="en-US" dirty="0" smtClean="0"/>
              <a:t>다섯째 수준</a:t>
            </a:r>
            <a:endParaRPr lang="ko-KR" altLang="en-US" dirty="0"/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3797300" y="6564906"/>
            <a:ext cx="2311400" cy="248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0" fontAlgn="base" latinLnBrk="1">
              <a:spcBef>
                <a:spcPct val="0"/>
              </a:spcBef>
              <a:spcAft>
                <a:spcPct val="0"/>
              </a:spcAft>
              <a:buFontTx/>
              <a:buNone/>
              <a:defRPr kumimoji="1" lang="en-US" altLang="ko-KR" sz="1200" b="1" kern="1200" smtClean="0">
                <a:solidFill>
                  <a:srgbClr val="202A38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eaLnBrk="0" hangingPunct="0">
              <a:tabLst>
                <a:tab pos="311150" algn="l"/>
              </a:tabLst>
              <a:defRPr/>
            </a:pPr>
            <a:fld id="{1C47CA80-6484-42A6-9781-E72C38E28267}" type="slidenum">
              <a:rPr>
                <a:ea typeface="맑은 고딕"/>
              </a:rPr>
              <a:pPr eaLnBrk="0" hangingPunct="0">
                <a:tabLst>
                  <a:tab pos="311150" algn="l"/>
                </a:tabLst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5547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2" r:id="rId1"/>
  </p:sldLayoutIdLst>
  <p:hf sldNum="0" hdr="0" ftr="0" dt="0"/>
  <p:txStyles>
    <p:titleStyle>
      <a:lvl1pPr algn="ctr" defTabSz="914400" rtl="0" eaLnBrk="1" latinLnBrk="1" hangingPunct="1">
        <a:spcBef>
          <a:spcPct val="0"/>
        </a:spcBef>
        <a:buNone/>
        <a:defRPr kumimoji="0" lang="ko-KR" altLang="en-US" sz="2000" b="1" kern="1200" dirty="0" smtClean="0">
          <a:solidFill>
            <a:srgbClr val="2B3749"/>
          </a:solidFill>
          <a:latin typeface="Arial" charset="0"/>
          <a:ea typeface="맑은 고딕" pitchFamily="50" charset="-127"/>
          <a:cs typeface="+mn-cs"/>
        </a:defRPr>
      </a:lvl1pPr>
    </p:titleStyle>
    <p:bodyStyle>
      <a:lvl1pPr marL="342900" indent="-34290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맑은 고딕" pitchFamily="50" charset="-127"/>
        <a:buChar char="■"/>
        <a:defRPr kumimoji="1" lang="ko-KR" altLang="en-US" sz="18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1pPr>
      <a:lvl2pPr marL="742950" indent="-28575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Arial" pitchFamily="34" charset="0"/>
        <a:buChar char="–"/>
        <a:defRPr kumimoji="1" lang="ko-KR" altLang="en-US" sz="16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2pPr>
      <a:lvl3pPr marL="1143000" indent="-22860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Arial" pitchFamily="34" charset="0"/>
        <a:buChar char="•"/>
        <a:defRPr kumimoji="1" lang="ko-KR" altLang="en-US" sz="14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3pPr>
      <a:lvl4pPr marL="1600200" indent="-22860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Wingdings" pitchFamily="2" charset="2"/>
        <a:buChar char="ü"/>
        <a:defRPr kumimoji="1" lang="ko-KR" altLang="en-US" sz="1200" kern="120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4pPr>
      <a:lvl5pPr marL="2057400" indent="-228600" algn="l" defTabSz="914400" rtl="0" eaLnBrk="0" fontAlgn="base" latinLnBrk="1" hangingPunct="0">
        <a:spcBef>
          <a:spcPct val="20000"/>
        </a:spcBef>
        <a:spcAft>
          <a:spcPct val="0"/>
        </a:spcAft>
        <a:buClr>
          <a:srgbClr val="2B3749"/>
        </a:buClr>
        <a:buFont typeface="Arial" pitchFamily="34" charset="0"/>
        <a:buChar char="»"/>
        <a:defRPr kumimoji="1" lang="ko-KR" altLang="en-US" sz="1200" kern="1200" dirty="0" smtClean="0">
          <a:solidFill>
            <a:schemeClr val="tx1"/>
          </a:solidFill>
          <a:latin typeface="맑은 고딕" pitchFamily="50" charset="-127"/>
          <a:ea typeface="맑은 고딕" pitchFamily="50" charset="-127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42950" y="6248400"/>
            <a:ext cx="2063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ea typeface="굴림" charset="-127"/>
              </a:defRPr>
            </a:lvl1pPr>
          </a:lstStyle>
          <a:p>
            <a:pPr eaLnBrk="0" latinLnBrk="0" hangingPunct="0"/>
            <a:endParaRPr kumimoji="0" lang="en-US" altLang="ko-KR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8400"/>
            <a:ext cx="31369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ea typeface="굴림" charset="-127"/>
              </a:defRPr>
            </a:lvl1pPr>
          </a:lstStyle>
          <a:p>
            <a:pPr eaLnBrk="0" latinLnBrk="0" hangingPunct="0"/>
            <a:endParaRPr kumimoji="0" lang="en-US" altLang="ko-KR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8400"/>
            <a:ext cx="2063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ea typeface="굴림" charset="-127"/>
              </a:defRPr>
            </a:lvl1pPr>
          </a:lstStyle>
          <a:p>
            <a:pPr eaLnBrk="0" latinLnBrk="0" hangingPunct="0"/>
            <a:fld id="{9F4745CE-6912-4E3E-A45B-257B70417E9B}" type="slidenum">
              <a:rPr kumimoji="0" lang="en-US" altLang="ko-KR" smtClean="0">
                <a:solidFill>
                  <a:srgbClr val="000000"/>
                </a:solidFill>
                <a:latin typeface="Times New Roman" pitchFamily="18" charset="0"/>
              </a:rPr>
              <a:pPr eaLnBrk="0" latinLnBrk="0" hangingPunct="0"/>
              <a:t>‹#›</a:t>
            </a:fld>
            <a:endParaRPr kumimoji="0" lang="en-US" altLang="ko-KR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grpSp>
        <p:nvGrpSpPr>
          <p:cNvPr id="1066" name="Group 42"/>
          <p:cNvGrpSpPr>
            <a:grpSpLocks/>
          </p:cNvGrpSpPr>
          <p:nvPr/>
        </p:nvGrpSpPr>
        <p:grpSpPr bwMode="auto">
          <a:xfrm>
            <a:off x="158225" y="976313"/>
            <a:ext cx="9572360" cy="5256212"/>
            <a:chOff x="92" y="615"/>
            <a:chExt cx="5566" cy="3311"/>
          </a:xfrm>
        </p:grpSpPr>
        <p:grpSp>
          <p:nvGrpSpPr>
            <p:cNvPr id="1058" name="Group 34"/>
            <p:cNvGrpSpPr>
              <a:grpSpLocks/>
            </p:cNvGrpSpPr>
            <p:nvPr/>
          </p:nvGrpSpPr>
          <p:grpSpPr bwMode="auto">
            <a:xfrm>
              <a:off x="2314" y="617"/>
              <a:ext cx="3344" cy="3080"/>
              <a:chOff x="2314" y="617"/>
              <a:chExt cx="3344" cy="3080"/>
            </a:xfrm>
          </p:grpSpPr>
          <p:grpSp>
            <p:nvGrpSpPr>
              <p:cNvPr id="1034" name="Group 10"/>
              <p:cNvGrpSpPr>
                <a:grpSpLocks/>
              </p:cNvGrpSpPr>
              <p:nvPr/>
            </p:nvGrpSpPr>
            <p:grpSpPr bwMode="auto">
              <a:xfrm>
                <a:off x="5166" y="2575"/>
                <a:ext cx="492" cy="1122"/>
                <a:chOff x="5166" y="2575"/>
                <a:chExt cx="492" cy="1122"/>
              </a:xfrm>
            </p:grpSpPr>
            <p:grpSp>
              <p:nvGrpSpPr>
                <p:cNvPr id="1032" name="Group 8"/>
                <p:cNvGrpSpPr>
                  <a:grpSpLocks/>
                </p:cNvGrpSpPr>
                <p:nvPr/>
              </p:nvGrpSpPr>
              <p:grpSpPr bwMode="auto">
                <a:xfrm>
                  <a:off x="5166" y="3367"/>
                  <a:ext cx="492" cy="330"/>
                  <a:chOff x="5166" y="3367"/>
                  <a:chExt cx="492" cy="330"/>
                </a:xfrm>
              </p:grpSpPr>
              <p:sp>
                <p:nvSpPr>
                  <p:cNvPr id="1029" name="Freeform 5"/>
                  <p:cNvSpPr>
                    <a:spLocks/>
                  </p:cNvSpPr>
                  <p:nvPr/>
                </p:nvSpPr>
                <p:spPr bwMode="auto">
                  <a:xfrm>
                    <a:off x="5579" y="3367"/>
                    <a:ext cx="79" cy="200"/>
                  </a:xfrm>
                  <a:custGeom>
                    <a:avLst/>
                    <a:gdLst>
                      <a:gd name="T0" fmla="*/ 25 w 79"/>
                      <a:gd name="T1" fmla="*/ 3 h 200"/>
                      <a:gd name="T2" fmla="*/ 33 w 79"/>
                      <a:gd name="T3" fmla="*/ 0 h 200"/>
                      <a:gd name="T4" fmla="*/ 47 w 79"/>
                      <a:gd name="T5" fmla="*/ 22 h 200"/>
                      <a:gd name="T6" fmla="*/ 45 w 79"/>
                      <a:gd name="T7" fmla="*/ 86 h 200"/>
                      <a:gd name="T8" fmla="*/ 55 w 79"/>
                      <a:gd name="T9" fmla="*/ 86 h 200"/>
                      <a:gd name="T10" fmla="*/ 57 w 79"/>
                      <a:gd name="T11" fmla="*/ 94 h 200"/>
                      <a:gd name="T12" fmla="*/ 60 w 79"/>
                      <a:gd name="T13" fmla="*/ 108 h 200"/>
                      <a:gd name="T14" fmla="*/ 62 w 79"/>
                      <a:gd name="T15" fmla="*/ 116 h 200"/>
                      <a:gd name="T16" fmla="*/ 70 w 79"/>
                      <a:gd name="T17" fmla="*/ 113 h 200"/>
                      <a:gd name="T18" fmla="*/ 76 w 79"/>
                      <a:gd name="T19" fmla="*/ 100 h 200"/>
                      <a:gd name="T20" fmla="*/ 78 w 79"/>
                      <a:gd name="T21" fmla="*/ 108 h 200"/>
                      <a:gd name="T22" fmla="*/ 74 w 79"/>
                      <a:gd name="T23" fmla="*/ 119 h 200"/>
                      <a:gd name="T24" fmla="*/ 70 w 79"/>
                      <a:gd name="T25" fmla="*/ 127 h 200"/>
                      <a:gd name="T26" fmla="*/ 68 w 79"/>
                      <a:gd name="T27" fmla="*/ 144 h 200"/>
                      <a:gd name="T28" fmla="*/ 59 w 79"/>
                      <a:gd name="T29" fmla="*/ 152 h 200"/>
                      <a:gd name="T30" fmla="*/ 53 w 79"/>
                      <a:gd name="T31" fmla="*/ 155 h 200"/>
                      <a:gd name="T32" fmla="*/ 45 w 79"/>
                      <a:gd name="T33" fmla="*/ 163 h 200"/>
                      <a:gd name="T34" fmla="*/ 43 w 79"/>
                      <a:gd name="T35" fmla="*/ 171 h 200"/>
                      <a:gd name="T36" fmla="*/ 45 w 79"/>
                      <a:gd name="T37" fmla="*/ 180 h 200"/>
                      <a:gd name="T38" fmla="*/ 47 w 79"/>
                      <a:gd name="T39" fmla="*/ 188 h 200"/>
                      <a:gd name="T40" fmla="*/ 37 w 79"/>
                      <a:gd name="T41" fmla="*/ 193 h 200"/>
                      <a:gd name="T42" fmla="*/ 31 w 79"/>
                      <a:gd name="T43" fmla="*/ 196 h 200"/>
                      <a:gd name="T44" fmla="*/ 25 w 79"/>
                      <a:gd name="T45" fmla="*/ 199 h 200"/>
                      <a:gd name="T46" fmla="*/ 21 w 79"/>
                      <a:gd name="T47" fmla="*/ 196 h 200"/>
                      <a:gd name="T48" fmla="*/ 12 w 79"/>
                      <a:gd name="T49" fmla="*/ 193 h 200"/>
                      <a:gd name="T50" fmla="*/ 8 w 79"/>
                      <a:gd name="T51" fmla="*/ 188 h 200"/>
                      <a:gd name="T52" fmla="*/ 12 w 79"/>
                      <a:gd name="T53" fmla="*/ 182 h 200"/>
                      <a:gd name="T54" fmla="*/ 20 w 79"/>
                      <a:gd name="T55" fmla="*/ 180 h 200"/>
                      <a:gd name="T56" fmla="*/ 25 w 79"/>
                      <a:gd name="T57" fmla="*/ 166 h 200"/>
                      <a:gd name="T58" fmla="*/ 25 w 79"/>
                      <a:gd name="T59" fmla="*/ 160 h 200"/>
                      <a:gd name="T60" fmla="*/ 20 w 79"/>
                      <a:gd name="T61" fmla="*/ 155 h 200"/>
                      <a:gd name="T62" fmla="*/ 12 w 79"/>
                      <a:gd name="T63" fmla="*/ 146 h 200"/>
                      <a:gd name="T64" fmla="*/ 6 w 79"/>
                      <a:gd name="T65" fmla="*/ 146 h 200"/>
                      <a:gd name="T66" fmla="*/ 2 w 79"/>
                      <a:gd name="T67" fmla="*/ 144 h 200"/>
                      <a:gd name="T68" fmla="*/ 0 w 79"/>
                      <a:gd name="T69" fmla="*/ 135 h 200"/>
                      <a:gd name="T70" fmla="*/ 2 w 79"/>
                      <a:gd name="T71" fmla="*/ 130 h 200"/>
                      <a:gd name="T72" fmla="*/ 6 w 79"/>
                      <a:gd name="T73" fmla="*/ 130 h 200"/>
                      <a:gd name="T74" fmla="*/ 12 w 79"/>
                      <a:gd name="T75" fmla="*/ 127 h 200"/>
                      <a:gd name="T76" fmla="*/ 20 w 79"/>
                      <a:gd name="T77" fmla="*/ 119 h 200"/>
                      <a:gd name="T78" fmla="*/ 23 w 79"/>
                      <a:gd name="T79" fmla="*/ 116 h 200"/>
                      <a:gd name="T80" fmla="*/ 27 w 79"/>
                      <a:gd name="T81" fmla="*/ 86 h 200"/>
                      <a:gd name="T82" fmla="*/ 23 w 79"/>
                      <a:gd name="T83" fmla="*/ 77 h 200"/>
                      <a:gd name="T84" fmla="*/ 18 w 79"/>
                      <a:gd name="T85" fmla="*/ 72 h 200"/>
                      <a:gd name="T86" fmla="*/ 16 w 79"/>
                      <a:gd name="T87" fmla="*/ 55 h 200"/>
                      <a:gd name="T88" fmla="*/ 18 w 79"/>
                      <a:gd name="T89" fmla="*/ 39 h 200"/>
                      <a:gd name="T90" fmla="*/ 20 w 79"/>
                      <a:gd name="T91" fmla="*/ 28 h 200"/>
                      <a:gd name="T92" fmla="*/ 25 w 79"/>
                      <a:gd name="T93" fmla="*/ 3 h 2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79" h="200">
                        <a:moveTo>
                          <a:pt x="25" y="3"/>
                        </a:moveTo>
                        <a:lnTo>
                          <a:pt x="33" y="0"/>
                        </a:lnTo>
                        <a:lnTo>
                          <a:pt x="47" y="22"/>
                        </a:lnTo>
                        <a:lnTo>
                          <a:pt x="45" y="86"/>
                        </a:lnTo>
                        <a:lnTo>
                          <a:pt x="55" y="86"/>
                        </a:lnTo>
                        <a:lnTo>
                          <a:pt x="57" y="94"/>
                        </a:lnTo>
                        <a:lnTo>
                          <a:pt x="60" y="108"/>
                        </a:lnTo>
                        <a:lnTo>
                          <a:pt x="62" y="116"/>
                        </a:lnTo>
                        <a:lnTo>
                          <a:pt x="70" y="113"/>
                        </a:lnTo>
                        <a:lnTo>
                          <a:pt x="76" y="100"/>
                        </a:lnTo>
                        <a:lnTo>
                          <a:pt x="78" y="108"/>
                        </a:lnTo>
                        <a:lnTo>
                          <a:pt x="74" y="119"/>
                        </a:lnTo>
                        <a:lnTo>
                          <a:pt x="70" y="127"/>
                        </a:lnTo>
                        <a:lnTo>
                          <a:pt x="68" y="144"/>
                        </a:lnTo>
                        <a:lnTo>
                          <a:pt x="59" y="152"/>
                        </a:lnTo>
                        <a:lnTo>
                          <a:pt x="53" y="155"/>
                        </a:lnTo>
                        <a:lnTo>
                          <a:pt x="45" y="163"/>
                        </a:lnTo>
                        <a:lnTo>
                          <a:pt x="43" y="171"/>
                        </a:lnTo>
                        <a:lnTo>
                          <a:pt x="45" y="180"/>
                        </a:lnTo>
                        <a:lnTo>
                          <a:pt x="47" y="188"/>
                        </a:lnTo>
                        <a:lnTo>
                          <a:pt x="37" y="193"/>
                        </a:lnTo>
                        <a:lnTo>
                          <a:pt x="31" y="196"/>
                        </a:lnTo>
                        <a:lnTo>
                          <a:pt x="25" y="199"/>
                        </a:lnTo>
                        <a:lnTo>
                          <a:pt x="21" y="196"/>
                        </a:lnTo>
                        <a:lnTo>
                          <a:pt x="12" y="193"/>
                        </a:lnTo>
                        <a:lnTo>
                          <a:pt x="8" y="188"/>
                        </a:lnTo>
                        <a:lnTo>
                          <a:pt x="12" y="182"/>
                        </a:lnTo>
                        <a:lnTo>
                          <a:pt x="20" y="180"/>
                        </a:lnTo>
                        <a:lnTo>
                          <a:pt x="25" y="166"/>
                        </a:lnTo>
                        <a:lnTo>
                          <a:pt x="25" y="160"/>
                        </a:lnTo>
                        <a:lnTo>
                          <a:pt x="20" y="155"/>
                        </a:lnTo>
                        <a:lnTo>
                          <a:pt x="12" y="146"/>
                        </a:lnTo>
                        <a:lnTo>
                          <a:pt x="6" y="146"/>
                        </a:lnTo>
                        <a:lnTo>
                          <a:pt x="2" y="144"/>
                        </a:lnTo>
                        <a:lnTo>
                          <a:pt x="0" y="135"/>
                        </a:lnTo>
                        <a:lnTo>
                          <a:pt x="2" y="130"/>
                        </a:lnTo>
                        <a:lnTo>
                          <a:pt x="6" y="130"/>
                        </a:lnTo>
                        <a:lnTo>
                          <a:pt x="12" y="127"/>
                        </a:lnTo>
                        <a:lnTo>
                          <a:pt x="20" y="119"/>
                        </a:lnTo>
                        <a:lnTo>
                          <a:pt x="23" y="116"/>
                        </a:lnTo>
                        <a:lnTo>
                          <a:pt x="27" y="86"/>
                        </a:lnTo>
                        <a:lnTo>
                          <a:pt x="23" y="77"/>
                        </a:lnTo>
                        <a:lnTo>
                          <a:pt x="18" y="72"/>
                        </a:lnTo>
                        <a:lnTo>
                          <a:pt x="16" y="55"/>
                        </a:lnTo>
                        <a:lnTo>
                          <a:pt x="18" y="39"/>
                        </a:lnTo>
                        <a:lnTo>
                          <a:pt x="20" y="28"/>
                        </a:lnTo>
                        <a:lnTo>
                          <a:pt x="25" y="3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1030" name="Freeform 6"/>
                  <p:cNvSpPr>
                    <a:spLocks/>
                  </p:cNvSpPr>
                  <p:nvPr/>
                </p:nvSpPr>
                <p:spPr bwMode="auto">
                  <a:xfrm>
                    <a:off x="5428" y="3527"/>
                    <a:ext cx="146" cy="170"/>
                  </a:xfrm>
                  <a:custGeom>
                    <a:avLst/>
                    <a:gdLst>
                      <a:gd name="T0" fmla="*/ 102 w 146"/>
                      <a:gd name="T1" fmla="*/ 0 h 170"/>
                      <a:gd name="T2" fmla="*/ 120 w 146"/>
                      <a:gd name="T3" fmla="*/ 0 h 170"/>
                      <a:gd name="T4" fmla="*/ 145 w 146"/>
                      <a:gd name="T5" fmla="*/ 44 h 170"/>
                      <a:gd name="T6" fmla="*/ 118 w 146"/>
                      <a:gd name="T7" fmla="*/ 83 h 170"/>
                      <a:gd name="T8" fmla="*/ 118 w 146"/>
                      <a:gd name="T9" fmla="*/ 100 h 170"/>
                      <a:gd name="T10" fmla="*/ 112 w 146"/>
                      <a:gd name="T11" fmla="*/ 105 h 170"/>
                      <a:gd name="T12" fmla="*/ 96 w 146"/>
                      <a:gd name="T13" fmla="*/ 105 h 170"/>
                      <a:gd name="T14" fmla="*/ 76 w 146"/>
                      <a:gd name="T15" fmla="*/ 127 h 170"/>
                      <a:gd name="T16" fmla="*/ 59 w 146"/>
                      <a:gd name="T17" fmla="*/ 150 h 170"/>
                      <a:gd name="T18" fmla="*/ 47 w 146"/>
                      <a:gd name="T19" fmla="*/ 169 h 170"/>
                      <a:gd name="T20" fmla="*/ 47 w 146"/>
                      <a:gd name="T21" fmla="*/ 152 h 170"/>
                      <a:gd name="T22" fmla="*/ 25 w 146"/>
                      <a:gd name="T23" fmla="*/ 155 h 170"/>
                      <a:gd name="T24" fmla="*/ 16 w 146"/>
                      <a:gd name="T25" fmla="*/ 155 h 170"/>
                      <a:gd name="T26" fmla="*/ 0 w 146"/>
                      <a:gd name="T27" fmla="*/ 155 h 170"/>
                      <a:gd name="T28" fmla="*/ 22 w 146"/>
                      <a:gd name="T29" fmla="*/ 127 h 170"/>
                      <a:gd name="T30" fmla="*/ 29 w 146"/>
                      <a:gd name="T31" fmla="*/ 114 h 170"/>
                      <a:gd name="T32" fmla="*/ 37 w 146"/>
                      <a:gd name="T33" fmla="*/ 114 h 170"/>
                      <a:gd name="T34" fmla="*/ 53 w 146"/>
                      <a:gd name="T35" fmla="*/ 91 h 170"/>
                      <a:gd name="T36" fmla="*/ 59 w 146"/>
                      <a:gd name="T37" fmla="*/ 91 h 170"/>
                      <a:gd name="T38" fmla="*/ 59 w 146"/>
                      <a:gd name="T39" fmla="*/ 89 h 170"/>
                      <a:gd name="T40" fmla="*/ 67 w 146"/>
                      <a:gd name="T41" fmla="*/ 80 h 170"/>
                      <a:gd name="T42" fmla="*/ 76 w 146"/>
                      <a:gd name="T43" fmla="*/ 80 h 170"/>
                      <a:gd name="T44" fmla="*/ 73 w 146"/>
                      <a:gd name="T45" fmla="*/ 55 h 170"/>
                      <a:gd name="T46" fmla="*/ 74 w 146"/>
                      <a:gd name="T47" fmla="*/ 55 h 170"/>
                      <a:gd name="T48" fmla="*/ 84 w 146"/>
                      <a:gd name="T49" fmla="*/ 42 h 170"/>
                      <a:gd name="T50" fmla="*/ 88 w 146"/>
                      <a:gd name="T51" fmla="*/ 53 h 170"/>
                      <a:gd name="T52" fmla="*/ 104 w 146"/>
                      <a:gd name="T53" fmla="*/ 33 h 170"/>
                      <a:gd name="T54" fmla="*/ 102 w 146"/>
                      <a:gd name="T55" fmla="*/ 0 h 1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146" h="170">
                        <a:moveTo>
                          <a:pt x="102" y="0"/>
                        </a:moveTo>
                        <a:lnTo>
                          <a:pt x="120" y="0"/>
                        </a:lnTo>
                        <a:lnTo>
                          <a:pt x="145" y="44"/>
                        </a:lnTo>
                        <a:lnTo>
                          <a:pt x="118" y="83"/>
                        </a:lnTo>
                        <a:lnTo>
                          <a:pt x="118" y="100"/>
                        </a:lnTo>
                        <a:lnTo>
                          <a:pt x="112" y="105"/>
                        </a:lnTo>
                        <a:lnTo>
                          <a:pt x="96" y="105"/>
                        </a:lnTo>
                        <a:lnTo>
                          <a:pt x="76" y="127"/>
                        </a:lnTo>
                        <a:lnTo>
                          <a:pt x="59" y="150"/>
                        </a:lnTo>
                        <a:lnTo>
                          <a:pt x="47" y="169"/>
                        </a:lnTo>
                        <a:lnTo>
                          <a:pt x="47" y="152"/>
                        </a:lnTo>
                        <a:lnTo>
                          <a:pt x="25" y="155"/>
                        </a:lnTo>
                        <a:lnTo>
                          <a:pt x="16" y="155"/>
                        </a:lnTo>
                        <a:lnTo>
                          <a:pt x="0" y="155"/>
                        </a:lnTo>
                        <a:lnTo>
                          <a:pt x="22" y="127"/>
                        </a:lnTo>
                        <a:lnTo>
                          <a:pt x="29" y="114"/>
                        </a:lnTo>
                        <a:lnTo>
                          <a:pt x="37" y="114"/>
                        </a:lnTo>
                        <a:lnTo>
                          <a:pt x="53" y="91"/>
                        </a:lnTo>
                        <a:lnTo>
                          <a:pt x="59" y="91"/>
                        </a:lnTo>
                        <a:lnTo>
                          <a:pt x="59" y="89"/>
                        </a:lnTo>
                        <a:lnTo>
                          <a:pt x="67" y="80"/>
                        </a:lnTo>
                        <a:lnTo>
                          <a:pt x="76" y="80"/>
                        </a:lnTo>
                        <a:lnTo>
                          <a:pt x="73" y="55"/>
                        </a:lnTo>
                        <a:lnTo>
                          <a:pt x="74" y="55"/>
                        </a:lnTo>
                        <a:lnTo>
                          <a:pt x="84" y="42"/>
                        </a:lnTo>
                        <a:lnTo>
                          <a:pt x="88" y="53"/>
                        </a:lnTo>
                        <a:lnTo>
                          <a:pt x="104" y="33"/>
                        </a:lnTo>
                        <a:lnTo>
                          <a:pt x="102" y="0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1031" name="Freeform 7"/>
                  <p:cNvSpPr>
                    <a:spLocks/>
                  </p:cNvSpPr>
                  <p:nvPr/>
                </p:nvSpPr>
                <p:spPr bwMode="auto">
                  <a:xfrm>
                    <a:off x="5166" y="3537"/>
                    <a:ext cx="56" cy="90"/>
                  </a:xfrm>
                  <a:custGeom>
                    <a:avLst/>
                    <a:gdLst>
                      <a:gd name="T0" fmla="*/ 0 w 56"/>
                      <a:gd name="T1" fmla="*/ 0 h 90"/>
                      <a:gd name="T2" fmla="*/ 12 w 56"/>
                      <a:gd name="T3" fmla="*/ 0 h 90"/>
                      <a:gd name="T4" fmla="*/ 26 w 56"/>
                      <a:gd name="T5" fmla="*/ 11 h 90"/>
                      <a:gd name="T6" fmla="*/ 55 w 56"/>
                      <a:gd name="T7" fmla="*/ 11 h 90"/>
                      <a:gd name="T8" fmla="*/ 51 w 56"/>
                      <a:gd name="T9" fmla="*/ 25 h 90"/>
                      <a:gd name="T10" fmla="*/ 55 w 56"/>
                      <a:gd name="T11" fmla="*/ 42 h 90"/>
                      <a:gd name="T12" fmla="*/ 45 w 56"/>
                      <a:gd name="T13" fmla="*/ 42 h 90"/>
                      <a:gd name="T14" fmla="*/ 43 w 56"/>
                      <a:gd name="T15" fmla="*/ 45 h 90"/>
                      <a:gd name="T16" fmla="*/ 37 w 56"/>
                      <a:gd name="T17" fmla="*/ 47 h 90"/>
                      <a:gd name="T18" fmla="*/ 43 w 56"/>
                      <a:gd name="T19" fmla="*/ 89 h 90"/>
                      <a:gd name="T20" fmla="*/ 26 w 56"/>
                      <a:gd name="T21" fmla="*/ 86 h 90"/>
                      <a:gd name="T22" fmla="*/ 10 w 56"/>
                      <a:gd name="T23" fmla="*/ 72 h 90"/>
                      <a:gd name="T24" fmla="*/ 10 w 56"/>
                      <a:gd name="T25" fmla="*/ 45 h 90"/>
                      <a:gd name="T26" fmla="*/ 10 w 56"/>
                      <a:gd name="T27" fmla="*/ 33 h 90"/>
                      <a:gd name="T28" fmla="*/ 0 w 56"/>
                      <a:gd name="T29" fmla="*/ 25 h 90"/>
                      <a:gd name="T30" fmla="*/ 0 w 56"/>
                      <a:gd name="T31" fmla="*/ 0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56" h="90">
                        <a:moveTo>
                          <a:pt x="0" y="0"/>
                        </a:moveTo>
                        <a:lnTo>
                          <a:pt x="12" y="0"/>
                        </a:lnTo>
                        <a:lnTo>
                          <a:pt x="26" y="11"/>
                        </a:lnTo>
                        <a:lnTo>
                          <a:pt x="55" y="11"/>
                        </a:lnTo>
                        <a:lnTo>
                          <a:pt x="51" y="25"/>
                        </a:lnTo>
                        <a:lnTo>
                          <a:pt x="55" y="42"/>
                        </a:lnTo>
                        <a:lnTo>
                          <a:pt x="45" y="42"/>
                        </a:lnTo>
                        <a:lnTo>
                          <a:pt x="43" y="45"/>
                        </a:lnTo>
                        <a:lnTo>
                          <a:pt x="37" y="47"/>
                        </a:lnTo>
                        <a:lnTo>
                          <a:pt x="43" y="89"/>
                        </a:lnTo>
                        <a:lnTo>
                          <a:pt x="26" y="86"/>
                        </a:lnTo>
                        <a:lnTo>
                          <a:pt x="10" y="72"/>
                        </a:lnTo>
                        <a:lnTo>
                          <a:pt x="10" y="45"/>
                        </a:lnTo>
                        <a:lnTo>
                          <a:pt x="10" y="33"/>
                        </a:lnTo>
                        <a:lnTo>
                          <a:pt x="0" y="25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</p:grpSp>
            <p:sp>
              <p:nvSpPr>
                <p:cNvPr id="1033" name="Freeform 9"/>
                <p:cNvSpPr>
                  <a:spLocks/>
                </p:cNvSpPr>
                <p:nvPr/>
              </p:nvSpPr>
              <p:spPr bwMode="auto">
                <a:xfrm>
                  <a:off x="5266" y="2575"/>
                  <a:ext cx="89" cy="101"/>
                </a:xfrm>
                <a:custGeom>
                  <a:avLst/>
                  <a:gdLst>
                    <a:gd name="T0" fmla="*/ 16 w 89"/>
                    <a:gd name="T1" fmla="*/ 37 h 101"/>
                    <a:gd name="T2" fmla="*/ 0 w 89"/>
                    <a:gd name="T3" fmla="*/ 80 h 101"/>
                    <a:gd name="T4" fmla="*/ 6 w 89"/>
                    <a:gd name="T5" fmla="*/ 97 h 101"/>
                    <a:gd name="T6" fmla="*/ 31 w 89"/>
                    <a:gd name="T7" fmla="*/ 100 h 101"/>
                    <a:gd name="T8" fmla="*/ 53 w 89"/>
                    <a:gd name="T9" fmla="*/ 100 h 101"/>
                    <a:gd name="T10" fmla="*/ 61 w 89"/>
                    <a:gd name="T11" fmla="*/ 83 h 101"/>
                    <a:gd name="T12" fmla="*/ 65 w 89"/>
                    <a:gd name="T13" fmla="*/ 66 h 101"/>
                    <a:gd name="T14" fmla="*/ 88 w 89"/>
                    <a:gd name="T15" fmla="*/ 66 h 101"/>
                    <a:gd name="T16" fmla="*/ 84 w 89"/>
                    <a:gd name="T17" fmla="*/ 40 h 101"/>
                    <a:gd name="T18" fmla="*/ 84 w 89"/>
                    <a:gd name="T19" fmla="*/ 14 h 101"/>
                    <a:gd name="T20" fmla="*/ 61 w 89"/>
                    <a:gd name="T21" fmla="*/ 0 h 101"/>
                    <a:gd name="T22" fmla="*/ 59 w 89"/>
                    <a:gd name="T23" fmla="*/ 29 h 101"/>
                    <a:gd name="T24" fmla="*/ 72 w 89"/>
                    <a:gd name="T25" fmla="*/ 46 h 101"/>
                    <a:gd name="T26" fmla="*/ 51 w 89"/>
                    <a:gd name="T27" fmla="*/ 46 h 101"/>
                    <a:gd name="T28" fmla="*/ 43 w 89"/>
                    <a:gd name="T29" fmla="*/ 57 h 101"/>
                    <a:gd name="T30" fmla="*/ 16 w 89"/>
                    <a:gd name="T31" fmla="*/ 37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9" h="101">
                      <a:moveTo>
                        <a:pt x="16" y="37"/>
                      </a:moveTo>
                      <a:lnTo>
                        <a:pt x="0" y="80"/>
                      </a:lnTo>
                      <a:lnTo>
                        <a:pt x="6" y="97"/>
                      </a:lnTo>
                      <a:lnTo>
                        <a:pt x="31" y="100"/>
                      </a:lnTo>
                      <a:lnTo>
                        <a:pt x="53" y="100"/>
                      </a:lnTo>
                      <a:lnTo>
                        <a:pt x="61" y="83"/>
                      </a:lnTo>
                      <a:lnTo>
                        <a:pt x="65" y="66"/>
                      </a:lnTo>
                      <a:lnTo>
                        <a:pt x="88" y="66"/>
                      </a:lnTo>
                      <a:lnTo>
                        <a:pt x="84" y="40"/>
                      </a:lnTo>
                      <a:lnTo>
                        <a:pt x="84" y="14"/>
                      </a:lnTo>
                      <a:lnTo>
                        <a:pt x="61" y="0"/>
                      </a:lnTo>
                      <a:lnTo>
                        <a:pt x="59" y="29"/>
                      </a:lnTo>
                      <a:lnTo>
                        <a:pt x="72" y="46"/>
                      </a:lnTo>
                      <a:lnTo>
                        <a:pt x="51" y="46"/>
                      </a:lnTo>
                      <a:lnTo>
                        <a:pt x="43" y="57"/>
                      </a:lnTo>
                      <a:lnTo>
                        <a:pt x="16" y="37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  <p:grpSp>
            <p:nvGrpSpPr>
              <p:cNvPr id="1048" name="Group 24"/>
              <p:cNvGrpSpPr>
                <a:grpSpLocks/>
              </p:cNvGrpSpPr>
              <p:nvPr/>
            </p:nvGrpSpPr>
            <p:grpSpPr bwMode="auto">
              <a:xfrm>
                <a:off x="4293" y="1104"/>
                <a:ext cx="1037" cy="2393"/>
                <a:chOff x="4293" y="1104"/>
                <a:chExt cx="1037" cy="2393"/>
              </a:xfrm>
            </p:grpSpPr>
            <p:grpSp>
              <p:nvGrpSpPr>
                <p:cNvPr id="1038" name="Group 14"/>
                <p:cNvGrpSpPr>
                  <a:grpSpLocks/>
                </p:cNvGrpSpPr>
                <p:nvPr/>
              </p:nvGrpSpPr>
              <p:grpSpPr bwMode="auto">
                <a:xfrm>
                  <a:off x="4460" y="1348"/>
                  <a:ext cx="232" cy="719"/>
                  <a:chOff x="4460" y="1348"/>
                  <a:chExt cx="232" cy="719"/>
                </a:xfrm>
              </p:grpSpPr>
              <p:sp>
                <p:nvSpPr>
                  <p:cNvPr id="1035" name="Freeform 11"/>
                  <p:cNvSpPr>
                    <a:spLocks/>
                  </p:cNvSpPr>
                  <p:nvPr/>
                </p:nvSpPr>
                <p:spPr bwMode="auto">
                  <a:xfrm>
                    <a:off x="4460" y="1993"/>
                    <a:ext cx="56" cy="74"/>
                  </a:xfrm>
                  <a:custGeom>
                    <a:avLst/>
                    <a:gdLst>
                      <a:gd name="T0" fmla="*/ 0 w 56"/>
                      <a:gd name="T1" fmla="*/ 56 h 74"/>
                      <a:gd name="T2" fmla="*/ 10 w 56"/>
                      <a:gd name="T3" fmla="*/ 70 h 74"/>
                      <a:gd name="T4" fmla="*/ 22 w 56"/>
                      <a:gd name="T5" fmla="*/ 67 h 74"/>
                      <a:gd name="T6" fmla="*/ 39 w 56"/>
                      <a:gd name="T7" fmla="*/ 73 h 74"/>
                      <a:gd name="T8" fmla="*/ 53 w 56"/>
                      <a:gd name="T9" fmla="*/ 73 h 74"/>
                      <a:gd name="T10" fmla="*/ 55 w 56"/>
                      <a:gd name="T11" fmla="*/ 48 h 74"/>
                      <a:gd name="T12" fmla="*/ 51 w 56"/>
                      <a:gd name="T13" fmla="*/ 31 h 74"/>
                      <a:gd name="T14" fmla="*/ 41 w 56"/>
                      <a:gd name="T15" fmla="*/ 11 h 74"/>
                      <a:gd name="T16" fmla="*/ 31 w 56"/>
                      <a:gd name="T17" fmla="*/ 11 h 74"/>
                      <a:gd name="T18" fmla="*/ 28 w 56"/>
                      <a:gd name="T19" fmla="*/ 0 h 74"/>
                      <a:gd name="T20" fmla="*/ 14 w 56"/>
                      <a:gd name="T21" fmla="*/ 0 h 74"/>
                      <a:gd name="T22" fmla="*/ 14 w 56"/>
                      <a:gd name="T23" fmla="*/ 22 h 74"/>
                      <a:gd name="T24" fmla="*/ 0 w 56"/>
                      <a:gd name="T25" fmla="*/ 56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56" h="74">
                        <a:moveTo>
                          <a:pt x="0" y="56"/>
                        </a:moveTo>
                        <a:lnTo>
                          <a:pt x="10" y="70"/>
                        </a:lnTo>
                        <a:lnTo>
                          <a:pt x="22" y="67"/>
                        </a:lnTo>
                        <a:lnTo>
                          <a:pt x="39" y="73"/>
                        </a:lnTo>
                        <a:lnTo>
                          <a:pt x="53" y="73"/>
                        </a:lnTo>
                        <a:lnTo>
                          <a:pt x="55" y="48"/>
                        </a:lnTo>
                        <a:lnTo>
                          <a:pt x="51" y="31"/>
                        </a:lnTo>
                        <a:lnTo>
                          <a:pt x="41" y="11"/>
                        </a:lnTo>
                        <a:lnTo>
                          <a:pt x="31" y="11"/>
                        </a:lnTo>
                        <a:lnTo>
                          <a:pt x="28" y="0"/>
                        </a:lnTo>
                        <a:lnTo>
                          <a:pt x="14" y="0"/>
                        </a:lnTo>
                        <a:lnTo>
                          <a:pt x="14" y="22"/>
                        </a:lnTo>
                        <a:lnTo>
                          <a:pt x="0" y="56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1036" name="Freeform 12"/>
                  <p:cNvSpPr>
                    <a:spLocks/>
                  </p:cNvSpPr>
                  <p:nvPr/>
                </p:nvSpPr>
                <p:spPr bwMode="auto">
                  <a:xfrm>
                    <a:off x="4607" y="1865"/>
                    <a:ext cx="54" cy="94"/>
                  </a:xfrm>
                  <a:custGeom>
                    <a:avLst/>
                    <a:gdLst>
                      <a:gd name="T0" fmla="*/ 12 w 54"/>
                      <a:gd name="T1" fmla="*/ 0 h 94"/>
                      <a:gd name="T2" fmla="*/ 35 w 54"/>
                      <a:gd name="T3" fmla="*/ 3 h 94"/>
                      <a:gd name="T4" fmla="*/ 43 w 54"/>
                      <a:gd name="T5" fmla="*/ 28 h 94"/>
                      <a:gd name="T6" fmla="*/ 53 w 54"/>
                      <a:gd name="T7" fmla="*/ 42 h 94"/>
                      <a:gd name="T8" fmla="*/ 45 w 54"/>
                      <a:gd name="T9" fmla="*/ 54 h 94"/>
                      <a:gd name="T10" fmla="*/ 53 w 54"/>
                      <a:gd name="T11" fmla="*/ 68 h 94"/>
                      <a:gd name="T12" fmla="*/ 49 w 54"/>
                      <a:gd name="T13" fmla="*/ 85 h 94"/>
                      <a:gd name="T14" fmla="*/ 41 w 54"/>
                      <a:gd name="T15" fmla="*/ 93 h 94"/>
                      <a:gd name="T16" fmla="*/ 26 w 54"/>
                      <a:gd name="T17" fmla="*/ 90 h 94"/>
                      <a:gd name="T18" fmla="*/ 16 w 54"/>
                      <a:gd name="T19" fmla="*/ 90 h 94"/>
                      <a:gd name="T20" fmla="*/ 10 w 54"/>
                      <a:gd name="T21" fmla="*/ 79 h 94"/>
                      <a:gd name="T22" fmla="*/ 4 w 54"/>
                      <a:gd name="T23" fmla="*/ 65 h 94"/>
                      <a:gd name="T24" fmla="*/ 4 w 54"/>
                      <a:gd name="T25" fmla="*/ 51 h 94"/>
                      <a:gd name="T26" fmla="*/ 0 w 54"/>
                      <a:gd name="T27" fmla="*/ 31 h 94"/>
                      <a:gd name="T28" fmla="*/ 12 w 54"/>
                      <a:gd name="T29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54" h="94">
                        <a:moveTo>
                          <a:pt x="12" y="0"/>
                        </a:moveTo>
                        <a:lnTo>
                          <a:pt x="35" y="3"/>
                        </a:lnTo>
                        <a:lnTo>
                          <a:pt x="43" y="28"/>
                        </a:lnTo>
                        <a:lnTo>
                          <a:pt x="53" y="42"/>
                        </a:lnTo>
                        <a:lnTo>
                          <a:pt x="45" y="54"/>
                        </a:lnTo>
                        <a:lnTo>
                          <a:pt x="53" y="68"/>
                        </a:lnTo>
                        <a:lnTo>
                          <a:pt x="49" y="85"/>
                        </a:lnTo>
                        <a:lnTo>
                          <a:pt x="41" y="93"/>
                        </a:lnTo>
                        <a:lnTo>
                          <a:pt x="26" y="90"/>
                        </a:lnTo>
                        <a:lnTo>
                          <a:pt x="16" y="90"/>
                        </a:lnTo>
                        <a:lnTo>
                          <a:pt x="10" y="79"/>
                        </a:lnTo>
                        <a:lnTo>
                          <a:pt x="4" y="65"/>
                        </a:lnTo>
                        <a:lnTo>
                          <a:pt x="4" y="51"/>
                        </a:lnTo>
                        <a:lnTo>
                          <a:pt x="0" y="31"/>
                        </a:lnTo>
                        <a:lnTo>
                          <a:pt x="12" y="0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1037" name="Freeform 13"/>
                  <p:cNvSpPr>
                    <a:spLocks/>
                  </p:cNvSpPr>
                  <p:nvPr/>
                </p:nvSpPr>
                <p:spPr bwMode="auto">
                  <a:xfrm>
                    <a:off x="4597" y="1348"/>
                    <a:ext cx="95" cy="87"/>
                  </a:xfrm>
                  <a:custGeom>
                    <a:avLst/>
                    <a:gdLst>
                      <a:gd name="T0" fmla="*/ 14 w 95"/>
                      <a:gd name="T1" fmla="*/ 0 h 87"/>
                      <a:gd name="T2" fmla="*/ 25 w 95"/>
                      <a:gd name="T3" fmla="*/ 14 h 87"/>
                      <a:gd name="T4" fmla="*/ 37 w 95"/>
                      <a:gd name="T5" fmla="*/ 11 h 87"/>
                      <a:gd name="T6" fmla="*/ 55 w 95"/>
                      <a:gd name="T7" fmla="*/ 14 h 87"/>
                      <a:gd name="T8" fmla="*/ 71 w 95"/>
                      <a:gd name="T9" fmla="*/ 14 h 87"/>
                      <a:gd name="T10" fmla="*/ 78 w 95"/>
                      <a:gd name="T11" fmla="*/ 22 h 87"/>
                      <a:gd name="T12" fmla="*/ 88 w 95"/>
                      <a:gd name="T13" fmla="*/ 42 h 87"/>
                      <a:gd name="T14" fmla="*/ 94 w 95"/>
                      <a:gd name="T15" fmla="*/ 50 h 87"/>
                      <a:gd name="T16" fmla="*/ 72 w 95"/>
                      <a:gd name="T17" fmla="*/ 55 h 87"/>
                      <a:gd name="T18" fmla="*/ 67 w 95"/>
                      <a:gd name="T19" fmla="*/ 61 h 87"/>
                      <a:gd name="T20" fmla="*/ 72 w 95"/>
                      <a:gd name="T21" fmla="*/ 72 h 87"/>
                      <a:gd name="T22" fmla="*/ 72 w 95"/>
                      <a:gd name="T23" fmla="*/ 83 h 87"/>
                      <a:gd name="T24" fmla="*/ 51 w 95"/>
                      <a:gd name="T25" fmla="*/ 72 h 87"/>
                      <a:gd name="T26" fmla="*/ 33 w 95"/>
                      <a:gd name="T27" fmla="*/ 64 h 87"/>
                      <a:gd name="T28" fmla="*/ 25 w 95"/>
                      <a:gd name="T29" fmla="*/ 67 h 87"/>
                      <a:gd name="T30" fmla="*/ 25 w 95"/>
                      <a:gd name="T31" fmla="*/ 83 h 87"/>
                      <a:gd name="T32" fmla="*/ 14 w 95"/>
                      <a:gd name="T33" fmla="*/ 86 h 87"/>
                      <a:gd name="T34" fmla="*/ 8 w 95"/>
                      <a:gd name="T35" fmla="*/ 72 h 87"/>
                      <a:gd name="T36" fmla="*/ 6 w 95"/>
                      <a:gd name="T37" fmla="*/ 55 h 87"/>
                      <a:gd name="T38" fmla="*/ 0 w 95"/>
                      <a:gd name="T39" fmla="*/ 53 h 87"/>
                      <a:gd name="T40" fmla="*/ 6 w 95"/>
                      <a:gd name="T41" fmla="*/ 36 h 87"/>
                      <a:gd name="T42" fmla="*/ 16 w 95"/>
                      <a:gd name="T43" fmla="*/ 31 h 87"/>
                      <a:gd name="T44" fmla="*/ 14 w 95"/>
                      <a:gd name="T45" fmla="*/ 0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95" h="87">
                        <a:moveTo>
                          <a:pt x="14" y="0"/>
                        </a:moveTo>
                        <a:lnTo>
                          <a:pt x="25" y="14"/>
                        </a:lnTo>
                        <a:lnTo>
                          <a:pt x="37" y="11"/>
                        </a:lnTo>
                        <a:lnTo>
                          <a:pt x="55" y="14"/>
                        </a:lnTo>
                        <a:lnTo>
                          <a:pt x="71" y="14"/>
                        </a:lnTo>
                        <a:lnTo>
                          <a:pt x="78" y="22"/>
                        </a:lnTo>
                        <a:lnTo>
                          <a:pt x="88" y="42"/>
                        </a:lnTo>
                        <a:lnTo>
                          <a:pt x="94" y="50"/>
                        </a:lnTo>
                        <a:lnTo>
                          <a:pt x="72" y="55"/>
                        </a:lnTo>
                        <a:lnTo>
                          <a:pt x="67" y="61"/>
                        </a:lnTo>
                        <a:lnTo>
                          <a:pt x="72" y="72"/>
                        </a:lnTo>
                        <a:lnTo>
                          <a:pt x="72" y="83"/>
                        </a:lnTo>
                        <a:lnTo>
                          <a:pt x="51" y="72"/>
                        </a:lnTo>
                        <a:lnTo>
                          <a:pt x="33" y="64"/>
                        </a:lnTo>
                        <a:lnTo>
                          <a:pt x="25" y="67"/>
                        </a:lnTo>
                        <a:lnTo>
                          <a:pt x="25" y="83"/>
                        </a:lnTo>
                        <a:lnTo>
                          <a:pt x="14" y="86"/>
                        </a:lnTo>
                        <a:lnTo>
                          <a:pt x="8" y="72"/>
                        </a:lnTo>
                        <a:lnTo>
                          <a:pt x="6" y="55"/>
                        </a:lnTo>
                        <a:lnTo>
                          <a:pt x="0" y="53"/>
                        </a:lnTo>
                        <a:lnTo>
                          <a:pt x="6" y="36"/>
                        </a:lnTo>
                        <a:lnTo>
                          <a:pt x="16" y="31"/>
                        </a:lnTo>
                        <a:lnTo>
                          <a:pt x="14" y="0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</p:grpSp>
            <p:sp>
              <p:nvSpPr>
                <p:cNvPr id="1039" name="Freeform 15"/>
                <p:cNvSpPr>
                  <a:spLocks/>
                </p:cNvSpPr>
                <p:nvPr/>
              </p:nvSpPr>
              <p:spPr bwMode="auto">
                <a:xfrm>
                  <a:off x="4676" y="2803"/>
                  <a:ext cx="654" cy="694"/>
                </a:xfrm>
                <a:custGeom>
                  <a:avLst/>
                  <a:gdLst>
                    <a:gd name="T0" fmla="*/ 505 w 654"/>
                    <a:gd name="T1" fmla="*/ 56 h 694"/>
                    <a:gd name="T2" fmla="*/ 531 w 654"/>
                    <a:gd name="T3" fmla="*/ 78 h 694"/>
                    <a:gd name="T4" fmla="*/ 558 w 654"/>
                    <a:gd name="T5" fmla="*/ 181 h 694"/>
                    <a:gd name="T6" fmla="*/ 618 w 654"/>
                    <a:gd name="T7" fmla="*/ 287 h 694"/>
                    <a:gd name="T8" fmla="*/ 653 w 654"/>
                    <a:gd name="T9" fmla="*/ 395 h 694"/>
                    <a:gd name="T10" fmla="*/ 628 w 654"/>
                    <a:gd name="T11" fmla="*/ 495 h 694"/>
                    <a:gd name="T12" fmla="*/ 602 w 654"/>
                    <a:gd name="T13" fmla="*/ 559 h 694"/>
                    <a:gd name="T14" fmla="*/ 587 w 654"/>
                    <a:gd name="T15" fmla="*/ 621 h 694"/>
                    <a:gd name="T16" fmla="*/ 571 w 654"/>
                    <a:gd name="T17" fmla="*/ 657 h 694"/>
                    <a:gd name="T18" fmla="*/ 540 w 654"/>
                    <a:gd name="T19" fmla="*/ 682 h 694"/>
                    <a:gd name="T20" fmla="*/ 490 w 654"/>
                    <a:gd name="T21" fmla="*/ 674 h 694"/>
                    <a:gd name="T22" fmla="*/ 439 w 654"/>
                    <a:gd name="T23" fmla="*/ 657 h 694"/>
                    <a:gd name="T24" fmla="*/ 412 w 654"/>
                    <a:gd name="T25" fmla="*/ 618 h 694"/>
                    <a:gd name="T26" fmla="*/ 404 w 654"/>
                    <a:gd name="T27" fmla="*/ 568 h 694"/>
                    <a:gd name="T28" fmla="*/ 387 w 654"/>
                    <a:gd name="T29" fmla="*/ 545 h 694"/>
                    <a:gd name="T30" fmla="*/ 360 w 654"/>
                    <a:gd name="T31" fmla="*/ 548 h 694"/>
                    <a:gd name="T32" fmla="*/ 334 w 654"/>
                    <a:gd name="T33" fmla="*/ 509 h 694"/>
                    <a:gd name="T34" fmla="*/ 313 w 654"/>
                    <a:gd name="T35" fmla="*/ 504 h 694"/>
                    <a:gd name="T36" fmla="*/ 278 w 654"/>
                    <a:gd name="T37" fmla="*/ 509 h 694"/>
                    <a:gd name="T38" fmla="*/ 249 w 654"/>
                    <a:gd name="T39" fmla="*/ 515 h 694"/>
                    <a:gd name="T40" fmla="*/ 223 w 654"/>
                    <a:gd name="T41" fmla="*/ 537 h 694"/>
                    <a:gd name="T42" fmla="*/ 187 w 654"/>
                    <a:gd name="T43" fmla="*/ 554 h 694"/>
                    <a:gd name="T44" fmla="*/ 150 w 654"/>
                    <a:gd name="T45" fmla="*/ 579 h 694"/>
                    <a:gd name="T46" fmla="*/ 130 w 654"/>
                    <a:gd name="T47" fmla="*/ 590 h 694"/>
                    <a:gd name="T48" fmla="*/ 76 w 654"/>
                    <a:gd name="T49" fmla="*/ 584 h 694"/>
                    <a:gd name="T50" fmla="*/ 64 w 654"/>
                    <a:gd name="T51" fmla="*/ 571 h 694"/>
                    <a:gd name="T52" fmla="*/ 64 w 654"/>
                    <a:gd name="T53" fmla="*/ 495 h 694"/>
                    <a:gd name="T54" fmla="*/ 47 w 654"/>
                    <a:gd name="T55" fmla="*/ 451 h 694"/>
                    <a:gd name="T56" fmla="*/ 29 w 654"/>
                    <a:gd name="T57" fmla="*/ 415 h 694"/>
                    <a:gd name="T58" fmla="*/ 6 w 654"/>
                    <a:gd name="T59" fmla="*/ 287 h 694"/>
                    <a:gd name="T60" fmla="*/ 8 w 654"/>
                    <a:gd name="T61" fmla="*/ 245 h 694"/>
                    <a:gd name="T62" fmla="*/ 54 w 654"/>
                    <a:gd name="T63" fmla="*/ 223 h 694"/>
                    <a:gd name="T64" fmla="*/ 89 w 654"/>
                    <a:gd name="T65" fmla="*/ 217 h 694"/>
                    <a:gd name="T66" fmla="*/ 109 w 654"/>
                    <a:gd name="T67" fmla="*/ 206 h 694"/>
                    <a:gd name="T68" fmla="*/ 120 w 654"/>
                    <a:gd name="T69" fmla="*/ 170 h 694"/>
                    <a:gd name="T70" fmla="*/ 117 w 654"/>
                    <a:gd name="T71" fmla="*/ 150 h 694"/>
                    <a:gd name="T72" fmla="*/ 163 w 654"/>
                    <a:gd name="T73" fmla="*/ 100 h 694"/>
                    <a:gd name="T74" fmla="*/ 200 w 654"/>
                    <a:gd name="T75" fmla="*/ 64 h 694"/>
                    <a:gd name="T76" fmla="*/ 233 w 654"/>
                    <a:gd name="T77" fmla="*/ 89 h 694"/>
                    <a:gd name="T78" fmla="*/ 258 w 654"/>
                    <a:gd name="T79" fmla="*/ 61 h 694"/>
                    <a:gd name="T80" fmla="*/ 284 w 654"/>
                    <a:gd name="T81" fmla="*/ 28 h 694"/>
                    <a:gd name="T82" fmla="*/ 311 w 654"/>
                    <a:gd name="T83" fmla="*/ 8 h 694"/>
                    <a:gd name="T84" fmla="*/ 354 w 654"/>
                    <a:gd name="T85" fmla="*/ 14 h 694"/>
                    <a:gd name="T86" fmla="*/ 369 w 654"/>
                    <a:gd name="T87" fmla="*/ 39 h 694"/>
                    <a:gd name="T88" fmla="*/ 369 w 654"/>
                    <a:gd name="T89" fmla="*/ 70 h 694"/>
                    <a:gd name="T90" fmla="*/ 406 w 654"/>
                    <a:gd name="T91" fmla="*/ 125 h 694"/>
                    <a:gd name="T92" fmla="*/ 437 w 654"/>
                    <a:gd name="T93" fmla="*/ 142 h 694"/>
                    <a:gd name="T94" fmla="*/ 463 w 654"/>
                    <a:gd name="T95" fmla="*/ 89 h 694"/>
                    <a:gd name="T96" fmla="*/ 470 w 654"/>
                    <a:gd name="T9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54" h="694">
                      <a:moveTo>
                        <a:pt x="470" y="0"/>
                      </a:moveTo>
                      <a:lnTo>
                        <a:pt x="505" y="0"/>
                      </a:lnTo>
                      <a:lnTo>
                        <a:pt x="505" y="56"/>
                      </a:lnTo>
                      <a:lnTo>
                        <a:pt x="519" y="70"/>
                      </a:lnTo>
                      <a:lnTo>
                        <a:pt x="523" y="78"/>
                      </a:lnTo>
                      <a:lnTo>
                        <a:pt x="531" y="78"/>
                      </a:lnTo>
                      <a:lnTo>
                        <a:pt x="534" y="89"/>
                      </a:lnTo>
                      <a:lnTo>
                        <a:pt x="538" y="145"/>
                      </a:lnTo>
                      <a:lnTo>
                        <a:pt x="558" y="181"/>
                      </a:lnTo>
                      <a:lnTo>
                        <a:pt x="587" y="234"/>
                      </a:lnTo>
                      <a:lnTo>
                        <a:pt x="587" y="242"/>
                      </a:lnTo>
                      <a:lnTo>
                        <a:pt x="618" y="287"/>
                      </a:lnTo>
                      <a:lnTo>
                        <a:pt x="618" y="295"/>
                      </a:lnTo>
                      <a:lnTo>
                        <a:pt x="649" y="331"/>
                      </a:lnTo>
                      <a:lnTo>
                        <a:pt x="653" y="395"/>
                      </a:lnTo>
                      <a:lnTo>
                        <a:pt x="649" y="454"/>
                      </a:lnTo>
                      <a:lnTo>
                        <a:pt x="639" y="481"/>
                      </a:lnTo>
                      <a:lnTo>
                        <a:pt x="628" y="495"/>
                      </a:lnTo>
                      <a:lnTo>
                        <a:pt x="624" y="523"/>
                      </a:lnTo>
                      <a:lnTo>
                        <a:pt x="612" y="548"/>
                      </a:lnTo>
                      <a:lnTo>
                        <a:pt x="602" y="559"/>
                      </a:lnTo>
                      <a:lnTo>
                        <a:pt x="604" y="568"/>
                      </a:lnTo>
                      <a:lnTo>
                        <a:pt x="593" y="584"/>
                      </a:lnTo>
                      <a:lnTo>
                        <a:pt x="587" y="621"/>
                      </a:lnTo>
                      <a:lnTo>
                        <a:pt x="585" y="640"/>
                      </a:lnTo>
                      <a:lnTo>
                        <a:pt x="573" y="648"/>
                      </a:lnTo>
                      <a:lnTo>
                        <a:pt x="571" y="657"/>
                      </a:lnTo>
                      <a:lnTo>
                        <a:pt x="564" y="674"/>
                      </a:lnTo>
                      <a:lnTo>
                        <a:pt x="550" y="676"/>
                      </a:lnTo>
                      <a:lnTo>
                        <a:pt x="540" y="682"/>
                      </a:lnTo>
                      <a:lnTo>
                        <a:pt x="527" y="693"/>
                      </a:lnTo>
                      <a:lnTo>
                        <a:pt x="509" y="671"/>
                      </a:lnTo>
                      <a:lnTo>
                        <a:pt x="490" y="674"/>
                      </a:lnTo>
                      <a:lnTo>
                        <a:pt x="484" y="674"/>
                      </a:lnTo>
                      <a:lnTo>
                        <a:pt x="457" y="679"/>
                      </a:lnTo>
                      <a:lnTo>
                        <a:pt x="439" y="657"/>
                      </a:lnTo>
                      <a:lnTo>
                        <a:pt x="428" y="635"/>
                      </a:lnTo>
                      <a:lnTo>
                        <a:pt x="420" y="637"/>
                      </a:lnTo>
                      <a:lnTo>
                        <a:pt x="412" y="618"/>
                      </a:lnTo>
                      <a:lnTo>
                        <a:pt x="408" y="601"/>
                      </a:lnTo>
                      <a:lnTo>
                        <a:pt x="404" y="596"/>
                      </a:lnTo>
                      <a:lnTo>
                        <a:pt x="404" y="568"/>
                      </a:lnTo>
                      <a:lnTo>
                        <a:pt x="406" y="551"/>
                      </a:lnTo>
                      <a:lnTo>
                        <a:pt x="402" y="540"/>
                      </a:lnTo>
                      <a:lnTo>
                        <a:pt x="387" y="545"/>
                      </a:lnTo>
                      <a:lnTo>
                        <a:pt x="379" y="548"/>
                      </a:lnTo>
                      <a:lnTo>
                        <a:pt x="365" y="548"/>
                      </a:lnTo>
                      <a:lnTo>
                        <a:pt x="360" y="548"/>
                      </a:lnTo>
                      <a:lnTo>
                        <a:pt x="354" y="548"/>
                      </a:lnTo>
                      <a:lnTo>
                        <a:pt x="344" y="532"/>
                      </a:lnTo>
                      <a:lnTo>
                        <a:pt x="334" y="509"/>
                      </a:lnTo>
                      <a:lnTo>
                        <a:pt x="332" y="512"/>
                      </a:lnTo>
                      <a:lnTo>
                        <a:pt x="315" y="512"/>
                      </a:lnTo>
                      <a:lnTo>
                        <a:pt x="313" y="504"/>
                      </a:lnTo>
                      <a:lnTo>
                        <a:pt x="303" y="512"/>
                      </a:lnTo>
                      <a:lnTo>
                        <a:pt x="293" y="509"/>
                      </a:lnTo>
                      <a:lnTo>
                        <a:pt x="278" y="509"/>
                      </a:lnTo>
                      <a:lnTo>
                        <a:pt x="268" y="504"/>
                      </a:lnTo>
                      <a:lnTo>
                        <a:pt x="264" y="512"/>
                      </a:lnTo>
                      <a:lnTo>
                        <a:pt x="249" y="515"/>
                      </a:lnTo>
                      <a:lnTo>
                        <a:pt x="245" y="509"/>
                      </a:lnTo>
                      <a:lnTo>
                        <a:pt x="235" y="523"/>
                      </a:lnTo>
                      <a:lnTo>
                        <a:pt x="223" y="537"/>
                      </a:lnTo>
                      <a:lnTo>
                        <a:pt x="216" y="537"/>
                      </a:lnTo>
                      <a:lnTo>
                        <a:pt x="204" y="554"/>
                      </a:lnTo>
                      <a:lnTo>
                        <a:pt x="187" y="554"/>
                      </a:lnTo>
                      <a:lnTo>
                        <a:pt x="173" y="559"/>
                      </a:lnTo>
                      <a:lnTo>
                        <a:pt x="157" y="568"/>
                      </a:lnTo>
                      <a:lnTo>
                        <a:pt x="150" y="579"/>
                      </a:lnTo>
                      <a:lnTo>
                        <a:pt x="144" y="576"/>
                      </a:lnTo>
                      <a:lnTo>
                        <a:pt x="138" y="587"/>
                      </a:lnTo>
                      <a:lnTo>
                        <a:pt x="130" y="590"/>
                      </a:lnTo>
                      <a:lnTo>
                        <a:pt x="120" y="604"/>
                      </a:lnTo>
                      <a:lnTo>
                        <a:pt x="89" y="604"/>
                      </a:lnTo>
                      <a:lnTo>
                        <a:pt x="76" y="584"/>
                      </a:lnTo>
                      <a:lnTo>
                        <a:pt x="74" y="576"/>
                      </a:lnTo>
                      <a:lnTo>
                        <a:pt x="70" y="584"/>
                      </a:lnTo>
                      <a:lnTo>
                        <a:pt x="64" y="571"/>
                      </a:lnTo>
                      <a:lnTo>
                        <a:pt x="66" y="534"/>
                      </a:lnTo>
                      <a:lnTo>
                        <a:pt x="70" y="512"/>
                      </a:lnTo>
                      <a:lnTo>
                        <a:pt x="64" y="495"/>
                      </a:lnTo>
                      <a:lnTo>
                        <a:pt x="58" y="479"/>
                      </a:lnTo>
                      <a:lnTo>
                        <a:pt x="56" y="459"/>
                      </a:lnTo>
                      <a:lnTo>
                        <a:pt x="47" y="451"/>
                      </a:lnTo>
                      <a:lnTo>
                        <a:pt x="45" y="448"/>
                      </a:lnTo>
                      <a:lnTo>
                        <a:pt x="43" y="440"/>
                      </a:lnTo>
                      <a:lnTo>
                        <a:pt x="29" y="415"/>
                      </a:lnTo>
                      <a:lnTo>
                        <a:pt x="12" y="353"/>
                      </a:lnTo>
                      <a:lnTo>
                        <a:pt x="6" y="312"/>
                      </a:lnTo>
                      <a:lnTo>
                        <a:pt x="6" y="287"/>
                      </a:lnTo>
                      <a:lnTo>
                        <a:pt x="0" y="278"/>
                      </a:lnTo>
                      <a:lnTo>
                        <a:pt x="2" y="256"/>
                      </a:lnTo>
                      <a:lnTo>
                        <a:pt x="8" y="245"/>
                      </a:lnTo>
                      <a:lnTo>
                        <a:pt x="29" y="214"/>
                      </a:lnTo>
                      <a:lnTo>
                        <a:pt x="51" y="217"/>
                      </a:lnTo>
                      <a:lnTo>
                        <a:pt x="54" y="223"/>
                      </a:lnTo>
                      <a:lnTo>
                        <a:pt x="82" y="223"/>
                      </a:lnTo>
                      <a:lnTo>
                        <a:pt x="84" y="214"/>
                      </a:lnTo>
                      <a:lnTo>
                        <a:pt x="89" y="217"/>
                      </a:lnTo>
                      <a:lnTo>
                        <a:pt x="97" y="209"/>
                      </a:lnTo>
                      <a:lnTo>
                        <a:pt x="103" y="212"/>
                      </a:lnTo>
                      <a:lnTo>
                        <a:pt x="109" y="206"/>
                      </a:lnTo>
                      <a:lnTo>
                        <a:pt x="107" y="198"/>
                      </a:lnTo>
                      <a:lnTo>
                        <a:pt x="113" y="178"/>
                      </a:lnTo>
                      <a:lnTo>
                        <a:pt x="120" y="170"/>
                      </a:lnTo>
                      <a:lnTo>
                        <a:pt x="117" y="164"/>
                      </a:lnTo>
                      <a:lnTo>
                        <a:pt x="120" y="159"/>
                      </a:lnTo>
                      <a:lnTo>
                        <a:pt x="117" y="150"/>
                      </a:lnTo>
                      <a:lnTo>
                        <a:pt x="128" y="136"/>
                      </a:lnTo>
                      <a:lnTo>
                        <a:pt x="146" y="134"/>
                      </a:lnTo>
                      <a:lnTo>
                        <a:pt x="163" y="100"/>
                      </a:lnTo>
                      <a:lnTo>
                        <a:pt x="185" y="72"/>
                      </a:lnTo>
                      <a:lnTo>
                        <a:pt x="194" y="70"/>
                      </a:lnTo>
                      <a:lnTo>
                        <a:pt x="200" y="64"/>
                      </a:lnTo>
                      <a:lnTo>
                        <a:pt x="210" y="64"/>
                      </a:lnTo>
                      <a:lnTo>
                        <a:pt x="227" y="86"/>
                      </a:lnTo>
                      <a:lnTo>
                        <a:pt x="233" y="89"/>
                      </a:lnTo>
                      <a:lnTo>
                        <a:pt x="239" y="78"/>
                      </a:lnTo>
                      <a:lnTo>
                        <a:pt x="251" y="64"/>
                      </a:lnTo>
                      <a:lnTo>
                        <a:pt x="258" y="61"/>
                      </a:lnTo>
                      <a:lnTo>
                        <a:pt x="266" y="39"/>
                      </a:lnTo>
                      <a:lnTo>
                        <a:pt x="274" y="36"/>
                      </a:lnTo>
                      <a:lnTo>
                        <a:pt x="284" y="28"/>
                      </a:lnTo>
                      <a:lnTo>
                        <a:pt x="293" y="19"/>
                      </a:lnTo>
                      <a:lnTo>
                        <a:pt x="303" y="19"/>
                      </a:lnTo>
                      <a:lnTo>
                        <a:pt x="311" y="8"/>
                      </a:lnTo>
                      <a:lnTo>
                        <a:pt x="323" y="8"/>
                      </a:lnTo>
                      <a:lnTo>
                        <a:pt x="336" y="8"/>
                      </a:lnTo>
                      <a:lnTo>
                        <a:pt x="354" y="14"/>
                      </a:lnTo>
                      <a:lnTo>
                        <a:pt x="365" y="25"/>
                      </a:lnTo>
                      <a:lnTo>
                        <a:pt x="367" y="33"/>
                      </a:lnTo>
                      <a:lnTo>
                        <a:pt x="369" y="39"/>
                      </a:lnTo>
                      <a:lnTo>
                        <a:pt x="371" y="53"/>
                      </a:lnTo>
                      <a:lnTo>
                        <a:pt x="369" y="58"/>
                      </a:lnTo>
                      <a:lnTo>
                        <a:pt x="369" y="70"/>
                      </a:lnTo>
                      <a:lnTo>
                        <a:pt x="367" y="78"/>
                      </a:lnTo>
                      <a:lnTo>
                        <a:pt x="396" y="109"/>
                      </a:lnTo>
                      <a:lnTo>
                        <a:pt x="406" y="125"/>
                      </a:lnTo>
                      <a:lnTo>
                        <a:pt x="418" y="131"/>
                      </a:lnTo>
                      <a:lnTo>
                        <a:pt x="430" y="139"/>
                      </a:lnTo>
                      <a:lnTo>
                        <a:pt x="437" y="142"/>
                      </a:lnTo>
                      <a:lnTo>
                        <a:pt x="449" y="134"/>
                      </a:lnTo>
                      <a:lnTo>
                        <a:pt x="459" y="109"/>
                      </a:lnTo>
                      <a:lnTo>
                        <a:pt x="463" y="89"/>
                      </a:lnTo>
                      <a:lnTo>
                        <a:pt x="466" y="53"/>
                      </a:lnTo>
                      <a:lnTo>
                        <a:pt x="470" y="36"/>
                      </a:lnTo>
                      <a:lnTo>
                        <a:pt x="470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0" name="Freeform 16"/>
                <p:cNvSpPr>
                  <a:spLocks/>
                </p:cNvSpPr>
                <p:nvPr/>
              </p:nvSpPr>
              <p:spPr bwMode="auto">
                <a:xfrm>
                  <a:off x="4523" y="2653"/>
                  <a:ext cx="363" cy="95"/>
                </a:xfrm>
                <a:custGeom>
                  <a:avLst/>
                  <a:gdLst>
                    <a:gd name="T0" fmla="*/ 27 w 363"/>
                    <a:gd name="T1" fmla="*/ 14 h 95"/>
                    <a:gd name="T2" fmla="*/ 72 w 363"/>
                    <a:gd name="T3" fmla="*/ 14 h 95"/>
                    <a:gd name="T4" fmla="*/ 99 w 363"/>
                    <a:gd name="T5" fmla="*/ 17 h 95"/>
                    <a:gd name="T6" fmla="*/ 123 w 363"/>
                    <a:gd name="T7" fmla="*/ 44 h 95"/>
                    <a:gd name="T8" fmla="*/ 144 w 363"/>
                    <a:gd name="T9" fmla="*/ 50 h 95"/>
                    <a:gd name="T10" fmla="*/ 177 w 363"/>
                    <a:gd name="T11" fmla="*/ 61 h 95"/>
                    <a:gd name="T12" fmla="*/ 197 w 363"/>
                    <a:gd name="T13" fmla="*/ 66 h 95"/>
                    <a:gd name="T14" fmla="*/ 204 w 363"/>
                    <a:gd name="T15" fmla="*/ 44 h 95"/>
                    <a:gd name="T16" fmla="*/ 247 w 363"/>
                    <a:gd name="T17" fmla="*/ 50 h 95"/>
                    <a:gd name="T18" fmla="*/ 278 w 363"/>
                    <a:gd name="T19" fmla="*/ 58 h 95"/>
                    <a:gd name="T20" fmla="*/ 300 w 363"/>
                    <a:gd name="T21" fmla="*/ 61 h 95"/>
                    <a:gd name="T22" fmla="*/ 315 w 363"/>
                    <a:gd name="T23" fmla="*/ 50 h 95"/>
                    <a:gd name="T24" fmla="*/ 341 w 363"/>
                    <a:gd name="T25" fmla="*/ 44 h 95"/>
                    <a:gd name="T26" fmla="*/ 362 w 363"/>
                    <a:gd name="T27" fmla="*/ 39 h 95"/>
                    <a:gd name="T28" fmla="*/ 356 w 363"/>
                    <a:gd name="T29" fmla="*/ 66 h 95"/>
                    <a:gd name="T30" fmla="*/ 341 w 363"/>
                    <a:gd name="T31" fmla="*/ 75 h 95"/>
                    <a:gd name="T32" fmla="*/ 329 w 363"/>
                    <a:gd name="T33" fmla="*/ 77 h 95"/>
                    <a:gd name="T34" fmla="*/ 313 w 363"/>
                    <a:gd name="T35" fmla="*/ 86 h 95"/>
                    <a:gd name="T36" fmla="*/ 298 w 363"/>
                    <a:gd name="T37" fmla="*/ 86 h 95"/>
                    <a:gd name="T38" fmla="*/ 284 w 363"/>
                    <a:gd name="T39" fmla="*/ 88 h 95"/>
                    <a:gd name="T40" fmla="*/ 263 w 363"/>
                    <a:gd name="T41" fmla="*/ 94 h 95"/>
                    <a:gd name="T42" fmla="*/ 249 w 363"/>
                    <a:gd name="T43" fmla="*/ 75 h 95"/>
                    <a:gd name="T44" fmla="*/ 234 w 363"/>
                    <a:gd name="T45" fmla="*/ 94 h 95"/>
                    <a:gd name="T46" fmla="*/ 212 w 363"/>
                    <a:gd name="T47" fmla="*/ 75 h 95"/>
                    <a:gd name="T48" fmla="*/ 200 w 363"/>
                    <a:gd name="T49" fmla="*/ 77 h 95"/>
                    <a:gd name="T50" fmla="*/ 183 w 363"/>
                    <a:gd name="T51" fmla="*/ 86 h 95"/>
                    <a:gd name="T52" fmla="*/ 165 w 363"/>
                    <a:gd name="T53" fmla="*/ 80 h 95"/>
                    <a:gd name="T54" fmla="*/ 146 w 363"/>
                    <a:gd name="T55" fmla="*/ 77 h 95"/>
                    <a:gd name="T56" fmla="*/ 127 w 363"/>
                    <a:gd name="T57" fmla="*/ 86 h 95"/>
                    <a:gd name="T58" fmla="*/ 101 w 363"/>
                    <a:gd name="T59" fmla="*/ 72 h 95"/>
                    <a:gd name="T60" fmla="*/ 66 w 363"/>
                    <a:gd name="T61" fmla="*/ 64 h 95"/>
                    <a:gd name="T62" fmla="*/ 41 w 363"/>
                    <a:gd name="T63" fmla="*/ 55 h 95"/>
                    <a:gd name="T64" fmla="*/ 16 w 363"/>
                    <a:gd name="T65" fmla="*/ 41 h 95"/>
                    <a:gd name="T66" fmla="*/ 2 w 363"/>
                    <a:gd name="T67" fmla="*/ 36 h 95"/>
                    <a:gd name="T68" fmla="*/ 0 w 363"/>
                    <a:gd name="T69" fmla="*/ 0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63" h="95">
                      <a:moveTo>
                        <a:pt x="0" y="0"/>
                      </a:moveTo>
                      <a:lnTo>
                        <a:pt x="27" y="14"/>
                      </a:lnTo>
                      <a:lnTo>
                        <a:pt x="51" y="14"/>
                      </a:lnTo>
                      <a:lnTo>
                        <a:pt x="72" y="14"/>
                      </a:lnTo>
                      <a:lnTo>
                        <a:pt x="88" y="14"/>
                      </a:lnTo>
                      <a:lnTo>
                        <a:pt x="99" y="17"/>
                      </a:lnTo>
                      <a:lnTo>
                        <a:pt x="115" y="25"/>
                      </a:lnTo>
                      <a:lnTo>
                        <a:pt x="123" y="44"/>
                      </a:lnTo>
                      <a:lnTo>
                        <a:pt x="130" y="53"/>
                      </a:lnTo>
                      <a:lnTo>
                        <a:pt x="144" y="50"/>
                      </a:lnTo>
                      <a:lnTo>
                        <a:pt x="160" y="50"/>
                      </a:lnTo>
                      <a:lnTo>
                        <a:pt x="177" y="61"/>
                      </a:lnTo>
                      <a:lnTo>
                        <a:pt x="189" y="66"/>
                      </a:lnTo>
                      <a:lnTo>
                        <a:pt x="197" y="66"/>
                      </a:lnTo>
                      <a:lnTo>
                        <a:pt x="199" y="53"/>
                      </a:lnTo>
                      <a:lnTo>
                        <a:pt x="204" y="44"/>
                      </a:lnTo>
                      <a:lnTo>
                        <a:pt x="228" y="50"/>
                      </a:lnTo>
                      <a:lnTo>
                        <a:pt x="247" y="50"/>
                      </a:lnTo>
                      <a:lnTo>
                        <a:pt x="265" y="50"/>
                      </a:lnTo>
                      <a:lnTo>
                        <a:pt x="278" y="58"/>
                      </a:lnTo>
                      <a:lnTo>
                        <a:pt x="286" y="64"/>
                      </a:lnTo>
                      <a:lnTo>
                        <a:pt x="300" y="61"/>
                      </a:lnTo>
                      <a:lnTo>
                        <a:pt x="309" y="55"/>
                      </a:lnTo>
                      <a:lnTo>
                        <a:pt x="315" y="50"/>
                      </a:lnTo>
                      <a:lnTo>
                        <a:pt x="331" y="50"/>
                      </a:lnTo>
                      <a:lnTo>
                        <a:pt x="341" y="44"/>
                      </a:lnTo>
                      <a:lnTo>
                        <a:pt x="354" y="39"/>
                      </a:lnTo>
                      <a:lnTo>
                        <a:pt x="362" y="39"/>
                      </a:lnTo>
                      <a:lnTo>
                        <a:pt x="360" y="58"/>
                      </a:lnTo>
                      <a:lnTo>
                        <a:pt x="356" y="66"/>
                      </a:lnTo>
                      <a:lnTo>
                        <a:pt x="348" y="75"/>
                      </a:lnTo>
                      <a:lnTo>
                        <a:pt x="341" y="75"/>
                      </a:lnTo>
                      <a:lnTo>
                        <a:pt x="339" y="75"/>
                      </a:lnTo>
                      <a:lnTo>
                        <a:pt x="329" y="77"/>
                      </a:lnTo>
                      <a:lnTo>
                        <a:pt x="321" y="88"/>
                      </a:lnTo>
                      <a:lnTo>
                        <a:pt x="313" y="86"/>
                      </a:lnTo>
                      <a:lnTo>
                        <a:pt x="306" y="80"/>
                      </a:lnTo>
                      <a:lnTo>
                        <a:pt x="298" y="86"/>
                      </a:lnTo>
                      <a:lnTo>
                        <a:pt x="290" y="88"/>
                      </a:lnTo>
                      <a:lnTo>
                        <a:pt x="284" y="88"/>
                      </a:lnTo>
                      <a:lnTo>
                        <a:pt x="278" y="94"/>
                      </a:lnTo>
                      <a:lnTo>
                        <a:pt x="263" y="94"/>
                      </a:lnTo>
                      <a:lnTo>
                        <a:pt x="257" y="86"/>
                      </a:lnTo>
                      <a:lnTo>
                        <a:pt x="249" y="75"/>
                      </a:lnTo>
                      <a:lnTo>
                        <a:pt x="239" y="86"/>
                      </a:lnTo>
                      <a:lnTo>
                        <a:pt x="234" y="94"/>
                      </a:lnTo>
                      <a:lnTo>
                        <a:pt x="226" y="94"/>
                      </a:lnTo>
                      <a:lnTo>
                        <a:pt x="212" y="75"/>
                      </a:lnTo>
                      <a:lnTo>
                        <a:pt x="208" y="77"/>
                      </a:lnTo>
                      <a:lnTo>
                        <a:pt x="200" y="77"/>
                      </a:lnTo>
                      <a:lnTo>
                        <a:pt x="195" y="88"/>
                      </a:lnTo>
                      <a:lnTo>
                        <a:pt x="183" y="86"/>
                      </a:lnTo>
                      <a:lnTo>
                        <a:pt x="171" y="86"/>
                      </a:lnTo>
                      <a:lnTo>
                        <a:pt x="165" y="80"/>
                      </a:lnTo>
                      <a:lnTo>
                        <a:pt x="158" y="75"/>
                      </a:lnTo>
                      <a:lnTo>
                        <a:pt x="146" y="77"/>
                      </a:lnTo>
                      <a:lnTo>
                        <a:pt x="134" y="88"/>
                      </a:lnTo>
                      <a:lnTo>
                        <a:pt x="127" y="86"/>
                      </a:lnTo>
                      <a:lnTo>
                        <a:pt x="115" y="80"/>
                      </a:lnTo>
                      <a:lnTo>
                        <a:pt x="101" y="72"/>
                      </a:lnTo>
                      <a:lnTo>
                        <a:pt x="90" y="72"/>
                      </a:lnTo>
                      <a:lnTo>
                        <a:pt x="66" y="64"/>
                      </a:lnTo>
                      <a:lnTo>
                        <a:pt x="51" y="58"/>
                      </a:lnTo>
                      <a:lnTo>
                        <a:pt x="41" y="55"/>
                      </a:lnTo>
                      <a:lnTo>
                        <a:pt x="25" y="53"/>
                      </a:lnTo>
                      <a:lnTo>
                        <a:pt x="16" y="41"/>
                      </a:lnTo>
                      <a:lnTo>
                        <a:pt x="6" y="39"/>
                      </a:lnTo>
                      <a:lnTo>
                        <a:pt x="2" y="36"/>
                      </a:lnTo>
                      <a:lnTo>
                        <a:pt x="0" y="3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1" name="Freeform 17"/>
                <p:cNvSpPr>
                  <a:spLocks/>
                </p:cNvSpPr>
                <p:nvPr/>
              </p:nvSpPr>
              <p:spPr bwMode="auto">
                <a:xfrm>
                  <a:off x="4721" y="2468"/>
                  <a:ext cx="165" cy="182"/>
                </a:xfrm>
                <a:custGeom>
                  <a:avLst/>
                  <a:gdLst>
                    <a:gd name="T0" fmla="*/ 80 w 165"/>
                    <a:gd name="T1" fmla="*/ 3 h 182"/>
                    <a:gd name="T2" fmla="*/ 137 w 165"/>
                    <a:gd name="T3" fmla="*/ 0 h 182"/>
                    <a:gd name="T4" fmla="*/ 146 w 165"/>
                    <a:gd name="T5" fmla="*/ 22 h 182"/>
                    <a:gd name="T6" fmla="*/ 131 w 165"/>
                    <a:gd name="T7" fmla="*/ 36 h 182"/>
                    <a:gd name="T8" fmla="*/ 127 w 165"/>
                    <a:gd name="T9" fmla="*/ 47 h 182"/>
                    <a:gd name="T10" fmla="*/ 115 w 165"/>
                    <a:gd name="T11" fmla="*/ 61 h 182"/>
                    <a:gd name="T12" fmla="*/ 102 w 165"/>
                    <a:gd name="T13" fmla="*/ 64 h 182"/>
                    <a:gd name="T14" fmla="*/ 88 w 165"/>
                    <a:gd name="T15" fmla="*/ 56 h 182"/>
                    <a:gd name="T16" fmla="*/ 72 w 165"/>
                    <a:gd name="T17" fmla="*/ 36 h 182"/>
                    <a:gd name="T18" fmla="*/ 53 w 165"/>
                    <a:gd name="T19" fmla="*/ 36 h 182"/>
                    <a:gd name="T20" fmla="*/ 51 w 165"/>
                    <a:gd name="T21" fmla="*/ 64 h 182"/>
                    <a:gd name="T22" fmla="*/ 53 w 165"/>
                    <a:gd name="T23" fmla="*/ 81 h 182"/>
                    <a:gd name="T24" fmla="*/ 72 w 165"/>
                    <a:gd name="T25" fmla="*/ 70 h 182"/>
                    <a:gd name="T26" fmla="*/ 86 w 165"/>
                    <a:gd name="T27" fmla="*/ 75 h 182"/>
                    <a:gd name="T28" fmla="*/ 82 w 165"/>
                    <a:gd name="T29" fmla="*/ 92 h 182"/>
                    <a:gd name="T30" fmla="*/ 80 w 165"/>
                    <a:gd name="T31" fmla="*/ 103 h 182"/>
                    <a:gd name="T32" fmla="*/ 82 w 165"/>
                    <a:gd name="T33" fmla="*/ 120 h 182"/>
                    <a:gd name="T34" fmla="*/ 92 w 165"/>
                    <a:gd name="T35" fmla="*/ 128 h 182"/>
                    <a:gd name="T36" fmla="*/ 88 w 165"/>
                    <a:gd name="T37" fmla="*/ 148 h 182"/>
                    <a:gd name="T38" fmla="*/ 82 w 165"/>
                    <a:gd name="T39" fmla="*/ 170 h 182"/>
                    <a:gd name="T40" fmla="*/ 68 w 165"/>
                    <a:gd name="T41" fmla="*/ 175 h 182"/>
                    <a:gd name="T42" fmla="*/ 62 w 165"/>
                    <a:gd name="T43" fmla="*/ 164 h 182"/>
                    <a:gd name="T44" fmla="*/ 55 w 165"/>
                    <a:gd name="T45" fmla="*/ 139 h 182"/>
                    <a:gd name="T46" fmla="*/ 55 w 165"/>
                    <a:gd name="T47" fmla="*/ 114 h 182"/>
                    <a:gd name="T48" fmla="*/ 35 w 165"/>
                    <a:gd name="T49" fmla="*/ 114 h 182"/>
                    <a:gd name="T50" fmla="*/ 23 w 165"/>
                    <a:gd name="T51" fmla="*/ 117 h 182"/>
                    <a:gd name="T52" fmla="*/ 39 w 165"/>
                    <a:gd name="T53" fmla="*/ 128 h 182"/>
                    <a:gd name="T54" fmla="*/ 47 w 165"/>
                    <a:gd name="T55" fmla="*/ 145 h 182"/>
                    <a:gd name="T56" fmla="*/ 41 w 165"/>
                    <a:gd name="T57" fmla="*/ 167 h 182"/>
                    <a:gd name="T58" fmla="*/ 29 w 165"/>
                    <a:gd name="T59" fmla="*/ 181 h 182"/>
                    <a:gd name="T60" fmla="*/ 29 w 165"/>
                    <a:gd name="T61" fmla="*/ 164 h 182"/>
                    <a:gd name="T62" fmla="*/ 21 w 165"/>
                    <a:gd name="T63" fmla="*/ 145 h 182"/>
                    <a:gd name="T64" fmla="*/ 10 w 165"/>
                    <a:gd name="T65" fmla="*/ 128 h 182"/>
                    <a:gd name="T66" fmla="*/ 2 w 165"/>
                    <a:gd name="T67" fmla="*/ 109 h 182"/>
                    <a:gd name="T68" fmla="*/ 16 w 165"/>
                    <a:gd name="T69" fmla="*/ 86 h 182"/>
                    <a:gd name="T70" fmla="*/ 23 w 165"/>
                    <a:gd name="T71" fmla="*/ 58 h 182"/>
                    <a:gd name="T72" fmla="*/ 25 w 165"/>
                    <a:gd name="T73" fmla="*/ 39 h 182"/>
                    <a:gd name="T74" fmla="*/ 23 w 165"/>
                    <a:gd name="T75" fmla="*/ 22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65" h="182">
                      <a:moveTo>
                        <a:pt x="41" y="0"/>
                      </a:moveTo>
                      <a:lnTo>
                        <a:pt x="80" y="3"/>
                      </a:lnTo>
                      <a:lnTo>
                        <a:pt x="117" y="3"/>
                      </a:lnTo>
                      <a:lnTo>
                        <a:pt x="137" y="0"/>
                      </a:lnTo>
                      <a:lnTo>
                        <a:pt x="164" y="17"/>
                      </a:lnTo>
                      <a:lnTo>
                        <a:pt x="146" y="22"/>
                      </a:lnTo>
                      <a:lnTo>
                        <a:pt x="137" y="31"/>
                      </a:lnTo>
                      <a:lnTo>
                        <a:pt x="131" y="36"/>
                      </a:lnTo>
                      <a:lnTo>
                        <a:pt x="127" y="42"/>
                      </a:lnTo>
                      <a:lnTo>
                        <a:pt x="127" y="47"/>
                      </a:lnTo>
                      <a:lnTo>
                        <a:pt x="127" y="56"/>
                      </a:lnTo>
                      <a:lnTo>
                        <a:pt x="115" y="61"/>
                      </a:lnTo>
                      <a:lnTo>
                        <a:pt x="105" y="61"/>
                      </a:lnTo>
                      <a:lnTo>
                        <a:pt x="102" y="64"/>
                      </a:lnTo>
                      <a:lnTo>
                        <a:pt x="92" y="64"/>
                      </a:lnTo>
                      <a:lnTo>
                        <a:pt x="88" y="56"/>
                      </a:lnTo>
                      <a:lnTo>
                        <a:pt x="80" y="45"/>
                      </a:lnTo>
                      <a:lnTo>
                        <a:pt x="72" y="36"/>
                      </a:lnTo>
                      <a:lnTo>
                        <a:pt x="57" y="36"/>
                      </a:lnTo>
                      <a:lnTo>
                        <a:pt x="53" y="36"/>
                      </a:lnTo>
                      <a:lnTo>
                        <a:pt x="49" y="50"/>
                      </a:lnTo>
                      <a:lnTo>
                        <a:pt x="51" y="64"/>
                      </a:lnTo>
                      <a:lnTo>
                        <a:pt x="51" y="72"/>
                      </a:lnTo>
                      <a:lnTo>
                        <a:pt x="53" y="81"/>
                      </a:lnTo>
                      <a:lnTo>
                        <a:pt x="61" y="78"/>
                      </a:lnTo>
                      <a:lnTo>
                        <a:pt x="72" y="70"/>
                      </a:lnTo>
                      <a:lnTo>
                        <a:pt x="80" y="70"/>
                      </a:lnTo>
                      <a:lnTo>
                        <a:pt x="86" y="75"/>
                      </a:lnTo>
                      <a:lnTo>
                        <a:pt x="86" y="81"/>
                      </a:lnTo>
                      <a:lnTo>
                        <a:pt x="82" y="92"/>
                      </a:lnTo>
                      <a:lnTo>
                        <a:pt x="80" y="97"/>
                      </a:lnTo>
                      <a:lnTo>
                        <a:pt x="80" y="103"/>
                      </a:lnTo>
                      <a:lnTo>
                        <a:pt x="78" y="111"/>
                      </a:lnTo>
                      <a:lnTo>
                        <a:pt x="82" y="120"/>
                      </a:lnTo>
                      <a:lnTo>
                        <a:pt x="90" y="131"/>
                      </a:lnTo>
                      <a:lnTo>
                        <a:pt x="92" y="128"/>
                      </a:lnTo>
                      <a:lnTo>
                        <a:pt x="92" y="139"/>
                      </a:lnTo>
                      <a:lnTo>
                        <a:pt x="88" y="148"/>
                      </a:lnTo>
                      <a:lnTo>
                        <a:pt x="84" y="156"/>
                      </a:lnTo>
                      <a:lnTo>
                        <a:pt x="82" y="170"/>
                      </a:lnTo>
                      <a:lnTo>
                        <a:pt x="74" y="175"/>
                      </a:lnTo>
                      <a:lnTo>
                        <a:pt x="68" y="175"/>
                      </a:lnTo>
                      <a:lnTo>
                        <a:pt x="62" y="175"/>
                      </a:lnTo>
                      <a:lnTo>
                        <a:pt x="62" y="164"/>
                      </a:lnTo>
                      <a:lnTo>
                        <a:pt x="61" y="145"/>
                      </a:lnTo>
                      <a:lnTo>
                        <a:pt x="55" y="139"/>
                      </a:lnTo>
                      <a:lnTo>
                        <a:pt x="53" y="131"/>
                      </a:lnTo>
                      <a:lnTo>
                        <a:pt x="55" y="114"/>
                      </a:lnTo>
                      <a:lnTo>
                        <a:pt x="49" y="109"/>
                      </a:lnTo>
                      <a:lnTo>
                        <a:pt x="35" y="114"/>
                      </a:lnTo>
                      <a:lnTo>
                        <a:pt x="29" y="109"/>
                      </a:lnTo>
                      <a:lnTo>
                        <a:pt x="23" y="117"/>
                      </a:lnTo>
                      <a:lnTo>
                        <a:pt x="29" y="123"/>
                      </a:lnTo>
                      <a:lnTo>
                        <a:pt x="39" y="128"/>
                      </a:lnTo>
                      <a:lnTo>
                        <a:pt x="41" y="134"/>
                      </a:lnTo>
                      <a:lnTo>
                        <a:pt x="47" y="145"/>
                      </a:lnTo>
                      <a:lnTo>
                        <a:pt x="47" y="153"/>
                      </a:lnTo>
                      <a:lnTo>
                        <a:pt x="41" y="167"/>
                      </a:lnTo>
                      <a:lnTo>
                        <a:pt x="33" y="178"/>
                      </a:lnTo>
                      <a:lnTo>
                        <a:pt x="29" y="181"/>
                      </a:lnTo>
                      <a:lnTo>
                        <a:pt x="29" y="173"/>
                      </a:lnTo>
                      <a:lnTo>
                        <a:pt x="29" y="164"/>
                      </a:lnTo>
                      <a:lnTo>
                        <a:pt x="31" y="153"/>
                      </a:lnTo>
                      <a:lnTo>
                        <a:pt x="21" y="145"/>
                      </a:lnTo>
                      <a:lnTo>
                        <a:pt x="12" y="136"/>
                      </a:lnTo>
                      <a:lnTo>
                        <a:pt x="10" y="128"/>
                      </a:lnTo>
                      <a:lnTo>
                        <a:pt x="0" y="123"/>
                      </a:lnTo>
                      <a:lnTo>
                        <a:pt x="2" y="109"/>
                      </a:lnTo>
                      <a:lnTo>
                        <a:pt x="10" y="100"/>
                      </a:lnTo>
                      <a:lnTo>
                        <a:pt x="16" y="86"/>
                      </a:lnTo>
                      <a:lnTo>
                        <a:pt x="21" y="72"/>
                      </a:lnTo>
                      <a:lnTo>
                        <a:pt x="23" y="58"/>
                      </a:lnTo>
                      <a:lnTo>
                        <a:pt x="21" y="45"/>
                      </a:lnTo>
                      <a:lnTo>
                        <a:pt x="25" y="39"/>
                      </a:lnTo>
                      <a:lnTo>
                        <a:pt x="29" y="33"/>
                      </a:lnTo>
                      <a:lnTo>
                        <a:pt x="23" y="22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2" name="Freeform 18"/>
                <p:cNvSpPr>
                  <a:spLocks/>
                </p:cNvSpPr>
                <p:nvPr/>
              </p:nvSpPr>
              <p:spPr bwMode="auto">
                <a:xfrm>
                  <a:off x="4549" y="2387"/>
                  <a:ext cx="182" cy="249"/>
                </a:xfrm>
                <a:custGeom>
                  <a:avLst/>
                  <a:gdLst>
                    <a:gd name="T0" fmla="*/ 0 w 182"/>
                    <a:gd name="T1" fmla="*/ 83 h 249"/>
                    <a:gd name="T2" fmla="*/ 37 w 182"/>
                    <a:gd name="T3" fmla="*/ 44 h 249"/>
                    <a:gd name="T4" fmla="*/ 56 w 182"/>
                    <a:gd name="T5" fmla="*/ 28 h 249"/>
                    <a:gd name="T6" fmla="*/ 66 w 182"/>
                    <a:gd name="T7" fmla="*/ 14 h 249"/>
                    <a:gd name="T8" fmla="*/ 95 w 182"/>
                    <a:gd name="T9" fmla="*/ 0 h 249"/>
                    <a:gd name="T10" fmla="*/ 111 w 182"/>
                    <a:gd name="T11" fmla="*/ 30 h 249"/>
                    <a:gd name="T12" fmla="*/ 127 w 182"/>
                    <a:gd name="T13" fmla="*/ 17 h 249"/>
                    <a:gd name="T14" fmla="*/ 132 w 182"/>
                    <a:gd name="T15" fmla="*/ 8 h 249"/>
                    <a:gd name="T16" fmla="*/ 146 w 182"/>
                    <a:gd name="T17" fmla="*/ 0 h 249"/>
                    <a:gd name="T18" fmla="*/ 154 w 182"/>
                    <a:gd name="T19" fmla="*/ 0 h 249"/>
                    <a:gd name="T20" fmla="*/ 156 w 182"/>
                    <a:gd name="T21" fmla="*/ 11 h 249"/>
                    <a:gd name="T22" fmla="*/ 156 w 182"/>
                    <a:gd name="T23" fmla="*/ 19 h 249"/>
                    <a:gd name="T24" fmla="*/ 148 w 182"/>
                    <a:gd name="T25" fmla="*/ 33 h 249"/>
                    <a:gd name="T26" fmla="*/ 148 w 182"/>
                    <a:gd name="T27" fmla="*/ 41 h 249"/>
                    <a:gd name="T28" fmla="*/ 169 w 182"/>
                    <a:gd name="T29" fmla="*/ 77 h 249"/>
                    <a:gd name="T30" fmla="*/ 173 w 182"/>
                    <a:gd name="T31" fmla="*/ 99 h 249"/>
                    <a:gd name="T32" fmla="*/ 179 w 182"/>
                    <a:gd name="T33" fmla="*/ 99 h 249"/>
                    <a:gd name="T34" fmla="*/ 181 w 182"/>
                    <a:gd name="T35" fmla="*/ 110 h 249"/>
                    <a:gd name="T36" fmla="*/ 173 w 182"/>
                    <a:gd name="T37" fmla="*/ 121 h 249"/>
                    <a:gd name="T38" fmla="*/ 167 w 182"/>
                    <a:gd name="T39" fmla="*/ 116 h 249"/>
                    <a:gd name="T40" fmla="*/ 154 w 182"/>
                    <a:gd name="T41" fmla="*/ 124 h 249"/>
                    <a:gd name="T42" fmla="*/ 156 w 182"/>
                    <a:gd name="T43" fmla="*/ 146 h 249"/>
                    <a:gd name="T44" fmla="*/ 140 w 182"/>
                    <a:gd name="T45" fmla="*/ 160 h 249"/>
                    <a:gd name="T46" fmla="*/ 140 w 182"/>
                    <a:gd name="T47" fmla="*/ 196 h 249"/>
                    <a:gd name="T48" fmla="*/ 140 w 182"/>
                    <a:gd name="T49" fmla="*/ 220 h 249"/>
                    <a:gd name="T50" fmla="*/ 132 w 182"/>
                    <a:gd name="T51" fmla="*/ 231 h 249"/>
                    <a:gd name="T52" fmla="*/ 127 w 182"/>
                    <a:gd name="T53" fmla="*/ 248 h 249"/>
                    <a:gd name="T54" fmla="*/ 119 w 182"/>
                    <a:gd name="T55" fmla="*/ 245 h 249"/>
                    <a:gd name="T56" fmla="*/ 107 w 182"/>
                    <a:gd name="T57" fmla="*/ 237 h 249"/>
                    <a:gd name="T58" fmla="*/ 97 w 182"/>
                    <a:gd name="T59" fmla="*/ 229 h 249"/>
                    <a:gd name="T60" fmla="*/ 90 w 182"/>
                    <a:gd name="T61" fmla="*/ 215 h 249"/>
                    <a:gd name="T62" fmla="*/ 62 w 182"/>
                    <a:gd name="T63" fmla="*/ 218 h 249"/>
                    <a:gd name="T64" fmla="*/ 39 w 182"/>
                    <a:gd name="T65" fmla="*/ 209 h 249"/>
                    <a:gd name="T66" fmla="*/ 23 w 182"/>
                    <a:gd name="T67" fmla="*/ 187 h 249"/>
                    <a:gd name="T68" fmla="*/ 14 w 182"/>
                    <a:gd name="T69" fmla="*/ 171 h 249"/>
                    <a:gd name="T70" fmla="*/ 6 w 182"/>
                    <a:gd name="T71" fmla="*/ 157 h 249"/>
                    <a:gd name="T72" fmla="*/ 6 w 182"/>
                    <a:gd name="T73" fmla="*/ 130 h 249"/>
                    <a:gd name="T74" fmla="*/ 0 w 182"/>
                    <a:gd name="T75" fmla="*/ 83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82" h="249">
                      <a:moveTo>
                        <a:pt x="0" y="83"/>
                      </a:moveTo>
                      <a:lnTo>
                        <a:pt x="37" y="44"/>
                      </a:lnTo>
                      <a:lnTo>
                        <a:pt x="56" y="28"/>
                      </a:lnTo>
                      <a:lnTo>
                        <a:pt x="66" y="14"/>
                      </a:lnTo>
                      <a:lnTo>
                        <a:pt x="95" y="0"/>
                      </a:lnTo>
                      <a:lnTo>
                        <a:pt x="111" y="30"/>
                      </a:lnTo>
                      <a:lnTo>
                        <a:pt x="127" y="17"/>
                      </a:lnTo>
                      <a:lnTo>
                        <a:pt x="132" y="8"/>
                      </a:lnTo>
                      <a:lnTo>
                        <a:pt x="146" y="0"/>
                      </a:lnTo>
                      <a:lnTo>
                        <a:pt x="154" y="0"/>
                      </a:lnTo>
                      <a:lnTo>
                        <a:pt x="156" y="11"/>
                      </a:lnTo>
                      <a:lnTo>
                        <a:pt x="156" y="19"/>
                      </a:lnTo>
                      <a:lnTo>
                        <a:pt x="148" y="33"/>
                      </a:lnTo>
                      <a:lnTo>
                        <a:pt x="148" y="41"/>
                      </a:lnTo>
                      <a:lnTo>
                        <a:pt x="169" y="77"/>
                      </a:lnTo>
                      <a:lnTo>
                        <a:pt x="173" y="99"/>
                      </a:lnTo>
                      <a:lnTo>
                        <a:pt x="179" y="99"/>
                      </a:lnTo>
                      <a:lnTo>
                        <a:pt x="181" y="110"/>
                      </a:lnTo>
                      <a:lnTo>
                        <a:pt x="173" y="121"/>
                      </a:lnTo>
                      <a:lnTo>
                        <a:pt x="167" y="116"/>
                      </a:lnTo>
                      <a:lnTo>
                        <a:pt x="154" y="124"/>
                      </a:lnTo>
                      <a:lnTo>
                        <a:pt x="156" y="146"/>
                      </a:lnTo>
                      <a:lnTo>
                        <a:pt x="140" y="160"/>
                      </a:lnTo>
                      <a:lnTo>
                        <a:pt x="140" y="196"/>
                      </a:lnTo>
                      <a:lnTo>
                        <a:pt x="140" y="220"/>
                      </a:lnTo>
                      <a:lnTo>
                        <a:pt x="132" y="231"/>
                      </a:lnTo>
                      <a:lnTo>
                        <a:pt x="127" y="248"/>
                      </a:lnTo>
                      <a:lnTo>
                        <a:pt x="119" y="245"/>
                      </a:lnTo>
                      <a:lnTo>
                        <a:pt x="107" y="237"/>
                      </a:lnTo>
                      <a:lnTo>
                        <a:pt x="97" y="229"/>
                      </a:lnTo>
                      <a:lnTo>
                        <a:pt x="90" y="215"/>
                      </a:lnTo>
                      <a:lnTo>
                        <a:pt x="62" y="218"/>
                      </a:lnTo>
                      <a:lnTo>
                        <a:pt x="39" y="209"/>
                      </a:lnTo>
                      <a:lnTo>
                        <a:pt x="23" y="187"/>
                      </a:lnTo>
                      <a:lnTo>
                        <a:pt x="14" y="171"/>
                      </a:lnTo>
                      <a:lnTo>
                        <a:pt x="6" y="157"/>
                      </a:lnTo>
                      <a:lnTo>
                        <a:pt x="6" y="130"/>
                      </a:lnTo>
                      <a:lnTo>
                        <a:pt x="0" y="83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3" name="Freeform 19"/>
                <p:cNvSpPr>
                  <a:spLocks/>
                </p:cNvSpPr>
                <p:nvPr/>
              </p:nvSpPr>
              <p:spPr bwMode="auto">
                <a:xfrm>
                  <a:off x="4934" y="2529"/>
                  <a:ext cx="348" cy="235"/>
                </a:xfrm>
                <a:custGeom>
                  <a:avLst/>
                  <a:gdLst>
                    <a:gd name="T0" fmla="*/ 31 w 348"/>
                    <a:gd name="T1" fmla="*/ 3 h 235"/>
                    <a:gd name="T2" fmla="*/ 68 w 348"/>
                    <a:gd name="T3" fmla="*/ 39 h 235"/>
                    <a:gd name="T4" fmla="*/ 74 w 348"/>
                    <a:gd name="T5" fmla="*/ 56 h 235"/>
                    <a:gd name="T6" fmla="*/ 96 w 348"/>
                    <a:gd name="T7" fmla="*/ 47 h 235"/>
                    <a:gd name="T8" fmla="*/ 107 w 348"/>
                    <a:gd name="T9" fmla="*/ 53 h 235"/>
                    <a:gd name="T10" fmla="*/ 121 w 348"/>
                    <a:gd name="T11" fmla="*/ 39 h 235"/>
                    <a:gd name="T12" fmla="*/ 140 w 348"/>
                    <a:gd name="T13" fmla="*/ 31 h 235"/>
                    <a:gd name="T14" fmla="*/ 185 w 348"/>
                    <a:gd name="T15" fmla="*/ 47 h 235"/>
                    <a:gd name="T16" fmla="*/ 212 w 348"/>
                    <a:gd name="T17" fmla="*/ 67 h 235"/>
                    <a:gd name="T18" fmla="*/ 234 w 348"/>
                    <a:gd name="T19" fmla="*/ 81 h 235"/>
                    <a:gd name="T20" fmla="*/ 271 w 348"/>
                    <a:gd name="T21" fmla="*/ 111 h 235"/>
                    <a:gd name="T22" fmla="*/ 275 w 348"/>
                    <a:gd name="T23" fmla="*/ 128 h 235"/>
                    <a:gd name="T24" fmla="*/ 292 w 348"/>
                    <a:gd name="T25" fmla="*/ 142 h 235"/>
                    <a:gd name="T26" fmla="*/ 306 w 348"/>
                    <a:gd name="T27" fmla="*/ 148 h 235"/>
                    <a:gd name="T28" fmla="*/ 322 w 348"/>
                    <a:gd name="T29" fmla="*/ 176 h 235"/>
                    <a:gd name="T30" fmla="*/ 333 w 348"/>
                    <a:gd name="T31" fmla="*/ 192 h 235"/>
                    <a:gd name="T32" fmla="*/ 335 w 348"/>
                    <a:gd name="T33" fmla="*/ 234 h 235"/>
                    <a:gd name="T34" fmla="*/ 320 w 348"/>
                    <a:gd name="T35" fmla="*/ 234 h 235"/>
                    <a:gd name="T36" fmla="*/ 310 w 348"/>
                    <a:gd name="T37" fmla="*/ 226 h 235"/>
                    <a:gd name="T38" fmla="*/ 275 w 348"/>
                    <a:gd name="T39" fmla="*/ 184 h 235"/>
                    <a:gd name="T40" fmla="*/ 240 w 348"/>
                    <a:gd name="T41" fmla="*/ 184 h 235"/>
                    <a:gd name="T42" fmla="*/ 228 w 348"/>
                    <a:gd name="T43" fmla="*/ 198 h 235"/>
                    <a:gd name="T44" fmla="*/ 218 w 348"/>
                    <a:gd name="T45" fmla="*/ 206 h 235"/>
                    <a:gd name="T46" fmla="*/ 197 w 348"/>
                    <a:gd name="T47" fmla="*/ 217 h 235"/>
                    <a:gd name="T48" fmla="*/ 177 w 348"/>
                    <a:gd name="T49" fmla="*/ 212 h 235"/>
                    <a:gd name="T50" fmla="*/ 160 w 348"/>
                    <a:gd name="T51" fmla="*/ 212 h 235"/>
                    <a:gd name="T52" fmla="*/ 138 w 348"/>
                    <a:gd name="T53" fmla="*/ 159 h 235"/>
                    <a:gd name="T54" fmla="*/ 113 w 348"/>
                    <a:gd name="T55" fmla="*/ 111 h 235"/>
                    <a:gd name="T56" fmla="*/ 82 w 348"/>
                    <a:gd name="T57" fmla="*/ 95 h 235"/>
                    <a:gd name="T58" fmla="*/ 53 w 348"/>
                    <a:gd name="T59" fmla="*/ 92 h 235"/>
                    <a:gd name="T60" fmla="*/ 23 w 348"/>
                    <a:gd name="T61" fmla="*/ 75 h 235"/>
                    <a:gd name="T62" fmla="*/ 25 w 348"/>
                    <a:gd name="T63" fmla="*/ 25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48" h="235">
                      <a:moveTo>
                        <a:pt x="0" y="0"/>
                      </a:moveTo>
                      <a:lnTo>
                        <a:pt x="31" y="3"/>
                      </a:lnTo>
                      <a:lnTo>
                        <a:pt x="57" y="6"/>
                      </a:lnTo>
                      <a:lnTo>
                        <a:pt x="68" y="39"/>
                      </a:lnTo>
                      <a:lnTo>
                        <a:pt x="70" y="50"/>
                      </a:lnTo>
                      <a:lnTo>
                        <a:pt x="74" y="56"/>
                      </a:lnTo>
                      <a:lnTo>
                        <a:pt x="82" y="47"/>
                      </a:lnTo>
                      <a:lnTo>
                        <a:pt x="96" y="47"/>
                      </a:lnTo>
                      <a:lnTo>
                        <a:pt x="103" y="56"/>
                      </a:lnTo>
                      <a:lnTo>
                        <a:pt x="107" y="53"/>
                      </a:lnTo>
                      <a:lnTo>
                        <a:pt x="119" y="39"/>
                      </a:lnTo>
                      <a:lnTo>
                        <a:pt x="121" y="39"/>
                      </a:lnTo>
                      <a:lnTo>
                        <a:pt x="131" y="31"/>
                      </a:lnTo>
                      <a:lnTo>
                        <a:pt x="140" y="31"/>
                      </a:lnTo>
                      <a:lnTo>
                        <a:pt x="172" y="47"/>
                      </a:lnTo>
                      <a:lnTo>
                        <a:pt x="185" y="47"/>
                      </a:lnTo>
                      <a:lnTo>
                        <a:pt x="199" y="61"/>
                      </a:lnTo>
                      <a:lnTo>
                        <a:pt x="212" y="67"/>
                      </a:lnTo>
                      <a:lnTo>
                        <a:pt x="224" y="78"/>
                      </a:lnTo>
                      <a:lnTo>
                        <a:pt x="234" y="81"/>
                      </a:lnTo>
                      <a:lnTo>
                        <a:pt x="259" y="92"/>
                      </a:lnTo>
                      <a:lnTo>
                        <a:pt x="271" y="111"/>
                      </a:lnTo>
                      <a:lnTo>
                        <a:pt x="277" y="123"/>
                      </a:lnTo>
                      <a:lnTo>
                        <a:pt x="275" y="128"/>
                      </a:lnTo>
                      <a:lnTo>
                        <a:pt x="285" y="139"/>
                      </a:lnTo>
                      <a:lnTo>
                        <a:pt x="292" y="142"/>
                      </a:lnTo>
                      <a:lnTo>
                        <a:pt x="296" y="145"/>
                      </a:lnTo>
                      <a:lnTo>
                        <a:pt x="306" y="148"/>
                      </a:lnTo>
                      <a:lnTo>
                        <a:pt x="322" y="164"/>
                      </a:lnTo>
                      <a:lnTo>
                        <a:pt x="322" y="176"/>
                      </a:lnTo>
                      <a:lnTo>
                        <a:pt x="331" y="187"/>
                      </a:lnTo>
                      <a:lnTo>
                        <a:pt x="333" y="192"/>
                      </a:lnTo>
                      <a:lnTo>
                        <a:pt x="347" y="215"/>
                      </a:lnTo>
                      <a:lnTo>
                        <a:pt x="335" y="234"/>
                      </a:lnTo>
                      <a:lnTo>
                        <a:pt x="331" y="234"/>
                      </a:lnTo>
                      <a:lnTo>
                        <a:pt x="320" y="234"/>
                      </a:lnTo>
                      <a:lnTo>
                        <a:pt x="316" y="226"/>
                      </a:lnTo>
                      <a:lnTo>
                        <a:pt x="310" y="226"/>
                      </a:lnTo>
                      <a:lnTo>
                        <a:pt x="304" y="228"/>
                      </a:lnTo>
                      <a:lnTo>
                        <a:pt x="275" y="184"/>
                      </a:lnTo>
                      <a:lnTo>
                        <a:pt x="257" y="187"/>
                      </a:lnTo>
                      <a:lnTo>
                        <a:pt x="240" y="184"/>
                      </a:lnTo>
                      <a:lnTo>
                        <a:pt x="234" y="189"/>
                      </a:lnTo>
                      <a:lnTo>
                        <a:pt x="228" y="198"/>
                      </a:lnTo>
                      <a:lnTo>
                        <a:pt x="226" y="192"/>
                      </a:lnTo>
                      <a:lnTo>
                        <a:pt x="218" y="206"/>
                      </a:lnTo>
                      <a:lnTo>
                        <a:pt x="207" y="226"/>
                      </a:lnTo>
                      <a:lnTo>
                        <a:pt x="197" y="217"/>
                      </a:lnTo>
                      <a:lnTo>
                        <a:pt x="185" y="212"/>
                      </a:lnTo>
                      <a:lnTo>
                        <a:pt x="177" y="212"/>
                      </a:lnTo>
                      <a:lnTo>
                        <a:pt x="166" y="206"/>
                      </a:lnTo>
                      <a:lnTo>
                        <a:pt x="160" y="212"/>
                      </a:lnTo>
                      <a:lnTo>
                        <a:pt x="152" y="184"/>
                      </a:lnTo>
                      <a:lnTo>
                        <a:pt x="138" y="159"/>
                      </a:lnTo>
                      <a:lnTo>
                        <a:pt x="125" y="128"/>
                      </a:lnTo>
                      <a:lnTo>
                        <a:pt x="113" y="111"/>
                      </a:lnTo>
                      <a:lnTo>
                        <a:pt x="103" y="95"/>
                      </a:lnTo>
                      <a:lnTo>
                        <a:pt x="82" y="95"/>
                      </a:lnTo>
                      <a:lnTo>
                        <a:pt x="62" y="103"/>
                      </a:lnTo>
                      <a:lnTo>
                        <a:pt x="53" y="92"/>
                      </a:lnTo>
                      <a:lnTo>
                        <a:pt x="33" y="84"/>
                      </a:lnTo>
                      <a:lnTo>
                        <a:pt x="23" y="75"/>
                      </a:lnTo>
                      <a:lnTo>
                        <a:pt x="23" y="42"/>
                      </a:lnTo>
                      <a:lnTo>
                        <a:pt x="25" y="2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4" name="Freeform 20"/>
                <p:cNvSpPr>
                  <a:spLocks/>
                </p:cNvSpPr>
                <p:nvPr/>
              </p:nvSpPr>
              <p:spPr bwMode="auto">
                <a:xfrm>
                  <a:off x="4293" y="2362"/>
                  <a:ext cx="209" cy="310"/>
                </a:xfrm>
                <a:custGeom>
                  <a:avLst/>
                  <a:gdLst>
                    <a:gd name="T0" fmla="*/ 0 w 209"/>
                    <a:gd name="T1" fmla="*/ 8 h 310"/>
                    <a:gd name="T2" fmla="*/ 21 w 209"/>
                    <a:gd name="T3" fmla="*/ 0 h 310"/>
                    <a:gd name="T4" fmla="*/ 46 w 209"/>
                    <a:gd name="T5" fmla="*/ 14 h 310"/>
                    <a:gd name="T6" fmla="*/ 50 w 209"/>
                    <a:gd name="T7" fmla="*/ 28 h 310"/>
                    <a:gd name="T8" fmla="*/ 50 w 209"/>
                    <a:gd name="T9" fmla="*/ 33 h 310"/>
                    <a:gd name="T10" fmla="*/ 56 w 209"/>
                    <a:gd name="T11" fmla="*/ 36 h 310"/>
                    <a:gd name="T12" fmla="*/ 56 w 209"/>
                    <a:gd name="T13" fmla="*/ 42 h 310"/>
                    <a:gd name="T14" fmla="*/ 64 w 209"/>
                    <a:gd name="T15" fmla="*/ 45 h 310"/>
                    <a:gd name="T16" fmla="*/ 64 w 209"/>
                    <a:gd name="T17" fmla="*/ 56 h 310"/>
                    <a:gd name="T18" fmla="*/ 89 w 209"/>
                    <a:gd name="T19" fmla="*/ 89 h 310"/>
                    <a:gd name="T20" fmla="*/ 92 w 209"/>
                    <a:gd name="T21" fmla="*/ 89 h 310"/>
                    <a:gd name="T22" fmla="*/ 96 w 209"/>
                    <a:gd name="T23" fmla="*/ 97 h 310"/>
                    <a:gd name="T24" fmla="*/ 100 w 209"/>
                    <a:gd name="T25" fmla="*/ 106 h 310"/>
                    <a:gd name="T26" fmla="*/ 104 w 209"/>
                    <a:gd name="T27" fmla="*/ 106 h 310"/>
                    <a:gd name="T28" fmla="*/ 121 w 209"/>
                    <a:gd name="T29" fmla="*/ 117 h 310"/>
                    <a:gd name="T30" fmla="*/ 154 w 209"/>
                    <a:gd name="T31" fmla="*/ 122 h 310"/>
                    <a:gd name="T32" fmla="*/ 156 w 209"/>
                    <a:gd name="T33" fmla="*/ 161 h 310"/>
                    <a:gd name="T34" fmla="*/ 164 w 209"/>
                    <a:gd name="T35" fmla="*/ 167 h 310"/>
                    <a:gd name="T36" fmla="*/ 162 w 209"/>
                    <a:gd name="T37" fmla="*/ 181 h 310"/>
                    <a:gd name="T38" fmla="*/ 181 w 209"/>
                    <a:gd name="T39" fmla="*/ 200 h 310"/>
                    <a:gd name="T40" fmla="*/ 198 w 209"/>
                    <a:gd name="T41" fmla="*/ 209 h 310"/>
                    <a:gd name="T42" fmla="*/ 198 w 209"/>
                    <a:gd name="T43" fmla="*/ 273 h 310"/>
                    <a:gd name="T44" fmla="*/ 208 w 209"/>
                    <a:gd name="T45" fmla="*/ 298 h 310"/>
                    <a:gd name="T46" fmla="*/ 202 w 209"/>
                    <a:gd name="T47" fmla="*/ 306 h 310"/>
                    <a:gd name="T48" fmla="*/ 191 w 209"/>
                    <a:gd name="T49" fmla="*/ 309 h 310"/>
                    <a:gd name="T50" fmla="*/ 189 w 209"/>
                    <a:gd name="T51" fmla="*/ 287 h 310"/>
                    <a:gd name="T52" fmla="*/ 169 w 209"/>
                    <a:gd name="T53" fmla="*/ 309 h 310"/>
                    <a:gd name="T54" fmla="*/ 156 w 209"/>
                    <a:gd name="T55" fmla="*/ 276 h 310"/>
                    <a:gd name="T56" fmla="*/ 148 w 209"/>
                    <a:gd name="T57" fmla="*/ 253 h 310"/>
                    <a:gd name="T58" fmla="*/ 125 w 209"/>
                    <a:gd name="T59" fmla="*/ 223 h 310"/>
                    <a:gd name="T60" fmla="*/ 119 w 209"/>
                    <a:gd name="T61" fmla="*/ 223 h 310"/>
                    <a:gd name="T62" fmla="*/ 98 w 209"/>
                    <a:gd name="T63" fmla="*/ 206 h 310"/>
                    <a:gd name="T64" fmla="*/ 94 w 209"/>
                    <a:gd name="T65" fmla="*/ 189 h 310"/>
                    <a:gd name="T66" fmla="*/ 94 w 209"/>
                    <a:gd name="T67" fmla="*/ 178 h 310"/>
                    <a:gd name="T68" fmla="*/ 77 w 209"/>
                    <a:gd name="T69" fmla="*/ 134 h 310"/>
                    <a:gd name="T70" fmla="*/ 69 w 209"/>
                    <a:gd name="T71" fmla="*/ 106 h 310"/>
                    <a:gd name="T72" fmla="*/ 48 w 209"/>
                    <a:gd name="T73" fmla="*/ 81 h 310"/>
                    <a:gd name="T74" fmla="*/ 19 w 209"/>
                    <a:gd name="T75" fmla="*/ 42 h 310"/>
                    <a:gd name="T76" fmla="*/ 0 w 209"/>
                    <a:gd name="T77" fmla="*/ 8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09" h="310">
                      <a:moveTo>
                        <a:pt x="0" y="8"/>
                      </a:moveTo>
                      <a:lnTo>
                        <a:pt x="21" y="0"/>
                      </a:lnTo>
                      <a:lnTo>
                        <a:pt x="46" y="14"/>
                      </a:lnTo>
                      <a:lnTo>
                        <a:pt x="50" y="28"/>
                      </a:lnTo>
                      <a:lnTo>
                        <a:pt x="50" y="33"/>
                      </a:lnTo>
                      <a:lnTo>
                        <a:pt x="56" y="36"/>
                      </a:lnTo>
                      <a:lnTo>
                        <a:pt x="56" y="42"/>
                      </a:lnTo>
                      <a:lnTo>
                        <a:pt x="64" y="45"/>
                      </a:lnTo>
                      <a:lnTo>
                        <a:pt x="64" y="56"/>
                      </a:lnTo>
                      <a:lnTo>
                        <a:pt x="89" y="89"/>
                      </a:lnTo>
                      <a:lnTo>
                        <a:pt x="92" y="89"/>
                      </a:lnTo>
                      <a:lnTo>
                        <a:pt x="96" y="97"/>
                      </a:lnTo>
                      <a:lnTo>
                        <a:pt x="100" y="106"/>
                      </a:lnTo>
                      <a:lnTo>
                        <a:pt x="104" y="106"/>
                      </a:lnTo>
                      <a:lnTo>
                        <a:pt x="121" y="117"/>
                      </a:lnTo>
                      <a:lnTo>
                        <a:pt x="154" y="122"/>
                      </a:lnTo>
                      <a:lnTo>
                        <a:pt x="156" y="161"/>
                      </a:lnTo>
                      <a:lnTo>
                        <a:pt x="164" y="167"/>
                      </a:lnTo>
                      <a:lnTo>
                        <a:pt x="162" y="181"/>
                      </a:lnTo>
                      <a:lnTo>
                        <a:pt x="181" y="200"/>
                      </a:lnTo>
                      <a:lnTo>
                        <a:pt x="198" y="209"/>
                      </a:lnTo>
                      <a:lnTo>
                        <a:pt x="198" y="273"/>
                      </a:lnTo>
                      <a:lnTo>
                        <a:pt x="208" y="298"/>
                      </a:lnTo>
                      <a:lnTo>
                        <a:pt x="202" y="306"/>
                      </a:lnTo>
                      <a:lnTo>
                        <a:pt x="191" y="309"/>
                      </a:lnTo>
                      <a:lnTo>
                        <a:pt x="189" y="287"/>
                      </a:lnTo>
                      <a:lnTo>
                        <a:pt x="169" y="309"/>
                      </a:lnTo>
                      <a:lnTo>
                        <a:pt x="156" y="276"/>
                      </a:lnTo>
                      <a:lnTo>
                        <a:pt x="148" y="253"/>
                      </a:lnTo>
                      <a:lnTo>
                        <a:pt x="125" y="223"/>
                      </a:lnTo>
                      <a:lnTo>
                        <a:pt x="119" y="223"/>
                      </a:lnTo>
                      <a:lnTo>
                        <a:pt x="98" y="206"/>
                      </a:lnTo>
                      <a:lnTo>
                        <a:pt x="94" y="189"/>
                      </a:lnTo>
                      <a:lnTo>
                        <a:pt x="94" y="178"/>
                      </a:lnTo>
                      <a:lnTo>
                        <a:pt x="77" y="134"/>
                      </a:lnTo>
                      <a:lnTo>
                        <a:pt x="69" y="106"/>
                      </a:lnTo>
                      <a:lnTo>
                        <a:pt x="48" y="81"/>
                      </a:lnTo>
                      <a:lnTo>
                        <a:pt x="19" y="42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5" name="Freeform 21"/>
                <p:cNvSpPr>
                  <a:spLocks/>
                </p:cNvSpPr>
                <p:nvPr/>
              </p:nvSpPr>
              <p:spPr bwMode="auto">
                <a:xfrm>
                  <a:off x="4664" y="2029"/>
                  <a:ext cx="205" cy="341"/>
                </a:xfrm>
                <a:custGeom>
                  <a:avLst/>
                  <a:gdLst>
                    <a:gd name="T0" fmla="*/ 14 w 205"/>
                    <a:gd name="T1" fmla="*/ 0 h 341"/>
                    <a:gd name="T2" fmla="*/ 31 w 205"/>
                    <a:gd name="T3" fmla="*/ 0 h 341"/>
                    <a:gd name="T4" fmla="*/ 51 w 205"/>
                    <a:gd name="T5" fmla="*/ 36 h 341"/>
                    <a:gd name="T6" fmla="*/ 47 w 205"/>
                    <a:gd name="T7" fmla="*/ 70 h 341"/>
                    <a:gd name="T8" fmla="*/ 59 w 205"/>
                    <a:gd name="T9" fmla="*/ 81 h 341"/>
                    <a:gd name="T10" fmla="*/ 65 w 205"/>
                    <a:gd name="T11" fmla="*/ 103 h 341"/>
                    <a:gd name="T12" fmla="*/ 78 w 205"/>
                    <a:gd name="T13" fmla="*/ 114 h 341"/>
                    <a:gd name="T14" fmla="*/ 94 w 205"/>
                    <a:gd name="T15" fmla="*/ 117 h 341"/>
                    <a:gd name="T16" fmla="*/ 118 w 205"/>
                    <a:gd name="T17" fmla="*/ 134 h 341"/>
                    <a:gd name="T18" fmla="*/ 133 w 205"/>
                    <a:gd name="T19" fmla="*/ 153 h 341"/>
                    <a:gd name="T20" fmla="*/ 137 w 205"/>
                    <a:gd name="T21" fmla="*/ 153 h 341"/>
                    <a:gd name="T22" fmla="*/ 157 w 205"/>
                    <a:gd name="T23" fmla="*/ 170 h 341"/>
                    <a:gd name="T24" fmla="*/ 157 w 205"/>
                    <a:gd name="T25" fmla="*/ 212 h 341"/>
                    <a:gd name="T26" fmla="*/ 163 w 205"/>
                    <a:gd name="T27" fmla="*/ 231 h 341"/>
                    <a:gd name="T28" fmla="*/ 169 w 205"/>
                    <a:gd name="T29" fmla="*/ 242 h 341"/>
                    <a:gd name="T30" fmla="*/ 177 w 205"/>
                    <a:gd name="T31" fmla="*/ 254 h 341"/>
                    <a:gd name="T32" fmla="*/ 184 w 205"/>
                    <a:gd name="T33" fmla="*/ 268 h 341"/>
                    <a:gd name="T34" fmla="*/ 188 w 205"/>
                    <a:gd name="T35" fmla="*/ 284 h 341"/>
                    <a:gd name="T36" fmla="*/ 204 w 205"/>
                    <a:gd name="T37" fmla="*/ 298 h 341"/>
                    <a:gd name="T38" fmla="*/ 202 w 205"/>
                    <a:gd name="T39" fmla="*/ 315 h 341"/>
                    <a:gd name="T40" fmla="*/ 186 w 205"/>
                    <a:gd name="T41" fmla="*/ 318 h 341"/>
                    <a:gd name="T42" fmla="*/ 180 w 205"/>
                    <a:gd name="T43" fmla="*/ 304 h 341"/>
                    <a:gd name="T44" fmla="*/ 169 w 205"/>
                    <a:gd name="T45" fmla="*/ 304 h 341"/>
                    <a:gd name="T46" fmla="*/ 169 w 205"/>
                    <a:gd name="T47" fmla="*/ 340 h 341"/>
                    <a:gd name="T48" fmla="*/ 159 w 205"/>
                    <a:gd name="T49" fmla="*/ 340 h 341"/>
                    <a:gd name="T50" fmla="*/ 147 w 205"/>
                    <a:gd name="T51" fmla="*/ 323 h 341"/>
                    <a:gd name="T52" fmla="*/ 139 w 205"/>
                    <a:gd name="T53" fmla="*/ 315 h 341"/>
                    <a:gd name="T54" fmla="*/ 139 w 205"/>
                    <a:gd name="T55" fmla="*/ 295 h 341"/>
                    <a:gd name="T56" fmla="*/ 122 w 205"/>
                    <a:gd name="T57" fmla="*/ 295 h 341"/>
                    <a:gd name="T58" fmla="*/ 116 w 205"/>
                    <a:gd name="T59" fmla="*/ 315 h 341"/>
                    <a:gd name="T60" fmla="*/ 110 w 205"/>
                    <a:gd name="T61" fmla="*/ 295 h 341"/>
                    <a:gd name="T62" fmla="*/ 108 w 205"/>
                    <a:gd name="T63" fmla="*/ 276 h 341"/>
                    <a:gd name="T64" fmla="*/ 129 w 205"/>
                    <a:gd name="T65" fmla="*/ 268 h 341"/>
                    <a:gd name="T66" fmla="*/ 141 w 205"/>
                    <a:gd name="T67" fmla="*/ 273 h 341"/>
                    <a:gd name="T68" fmla="*/ 143 w 205"/>
                    <a:gd name="T69" fmla="*/ 240 h 341"/>
                    <a:gd name="T70" fmla="*/ 131 w 205"/>
                    <a:gd name="T71" fmla="*/ 229 h 341"/>
                    <a:gd name="T72" fmla="*/ 124 w 205"/>
                    <a:gd name="T73" fmla="*/ 201 h 341"/>
                    <a:gd name="T74" fmla="*/ 118 w 205"/>
                    <a:gd name="T75" fmla="*/ 167 h 341"/>
                    <a:gd name="T76" fmla="*/ 96 w 205"/>
                    <a:gd name="T77" fmla="*/ 156 h 341"/>
                    <a:gd name="T78" fmla="*/ 86 w 205"/>
                    <a:gd name="T79" fmla="*/ 142 h 341"/>
                    <a:gd name="T80" fmla="*/ 69 w 205"/>
                    <a:gd name="T81" fmla="*/ 134 h 341"/>
                    <a:gd name="T82" fmla="*/ 78 w 205"/>
                    <a:gd name="T83" fmla="*/ 164 h 341"/>
                    <a:gd name="T84" fmla="*/ 59 w 205"/>
                    <a:gd name="T85" fmla="*/ 178 h 341"/>
                    <a:gd name="T86" fmla="*/ 47 w 205"/>
                    <a:gd name="T87" fmla="*/ 145 h 341"/>
                    <a:gd name="T88" fmla="*/ 37 w 205"/>
                    <a:gd name="T89" fmla="*/ 137 h 341"/>
                    <a:gd name="T90" fmla="*/ 37 w 205"/>
                    <a:gd name="T91" fmla="*/ 117 h 341"/>
                    <a:gd name="T92" fmla="*/ 24 w 205"/>
                    <a:gd name="T93" fmla="*/ 95 h 341"/>
                    <a:gd name="T94" fmla="*/ 8 w 205"/>
                    <a:gd name="T95" fmla="*/ 81 h 341"/>
                    <a:gd name="T96" fmla="*/ 0 w 205"/>
                    <a:gd name="T97" fmla="*/ 67 h 341"/>
                    <a:gd name="T98" fmla="*/ 4 w 205"/>
                    <a:gd name="T99" fmla="*/ 56 h 341"/>
                    <a:gd name="T100" fmla="*/ 16 w 205"/>
                    <a:gd name="T101" fmla="*/ 61 h 341"/>
                    <a:gd name="T102" fmla="*/ 20 w 205"/>
                    <a:gd name="T103" fmla="*/ 47 h 341"/>
                    <a:gd name="T104" fmla="*/ 16 w 205"/>
                    <a:gd name="T105" fmla="*/ 28 h 341"/>
                    <a:gd name="T106" fmla="*/ 14 w 205"/>
                    <a:gd name="T107" fmla="*/ 0 h 3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05" h="341">
                      <a:moveTo>
                        <a:pt x="14" y="0"/>
                      </a:moveTo>
                      <a:lnTo>
                        <a:pt x="31" y="0"/>
                      </a:lnTo>
                      <a:lnTo>
                        <a:pt x="51" y="36"/>
                      </a:lnTo>
                      <a:lnTo>
                        <a:pt x="47" y="70"/>
                      </a:lnTo>
                      <a:lnTo>
                        <a:pt x="59" y="81"/>
                      </a:lnTo>
                      <a:lnTo>
                        <a:pt x="65" y="103"/>
                      </a:lnTo>
                      <a:lnTo>
                        <a:pt x="78" y="114"/>
                      </a:lnTo>
                      <a:lnTo>
                        <a:pt x="94" y="117"/>
                      </a:lnTo>
                      <a:lnTo>
                        <a:pt x="118" y="134"/>
                      </a:lnTo>
                      <a:lnTo>
                        <a:pt x="133" y="153"/>
                      </a:lnTo>
                      <a:lnTo>
                        <a:pt x="137" y="153"/>
                      </a:lnTo>
                      <a:lnTo>
                        <a:pt x="157" y="170"/>
                      </a:lnTo>
                      <a:lnTo>
                        <a:pt x="157" y="212"/>
                      </a:lnTo>
                      <a:lnTo>
                        <a:pt x="163" y="231"/>
                      </a:lnTo>
                      <a:lnTo>
                        <a:pt x="169" y="242"/>
                      </a:lnTo>
                      <a:lnTo>
                        <a:pt x="177" y="254"/>
                      </a:lnTo>
                      <a:lnTo>
                        <a:pt x="184" y="268"/>
                      </a:lnTo>
                      <a:lnTo>
                        <a:pt x="188" y="284"/>
                      </a:lnTo>
                      <a:lnTo>
                        <a:pt x="204" y="298"/>
                      </a:lnTo>
                      <a:lnTo>
                        <a:pt x="202" y="315"/>
                      </a:lnTo>
                      <a:lnTo>
                        <a:pt x="186" y="318"/>
                      </a:lnTo>
                      <a:lnTo>
                        <a:pt x="180" y="304"/>
                      </a:lnTo>
                      <a:lnTo>
                        <a:pt x="169" y="304"/>
                      </a:lnTo>
                      <a:lnTo>
                        <a:pt x="169" y="340"/>
                      </a:lnTo>
                      <a:lnTo>
                        <a:pt x="159" y="340"/>
                      </a:lnTo>
                      <a:lnTo>
                        <a:pt x="147" y="323"/>
                      </a:lnTo>
                      <a:lnTo>
                        <a:pt x="139" y="315"/>
                      </a:lnTo>
                      <a:lnTo>
                        <a:pt x="139" y="295"/>
                      </a:lnTo>
                      <a:lnTo>
                        <a:pt x="122" y="295"/>
                      </a:lnTo>
                      <a:lnTo>
                        <a:pt x="116" y="315"/>
                      </a:lnTo>
                      <a:lnTo>
                        <a:pt x="110" y="295"/>
                      </a:lnTo>
                      <a:lnTo>
                        <a:pt x="108" y="276"/>
                      </a:lnTo>
                      <a:lnTo>
                        <a:pt x="129" y="268"/>
                      </a:lnTo>
                      <a:lnTo>
                        <a:pt x="141" y="273"/>
                      </a:lnTo>
                      <a:lnTo>
                        <a:pt x="143" y="240"/>
                      </a:lnTo>
                      <a:lnTo>
                        <a:pt x="131" y="229"/>
                      </a:lnTo>
                      <a:lnTo>
                        <a:pt x="124" y="201"/>
                      </a:lnTo>
                      <a:lnTo>
                        <a:pt x="118" y="167"/>
                      </a:lnTo>
                      <a:lnTo>
                        <a:pt x="96" y="156"/>
                      </a:lnTo>
                      <a:lnTo>
                        <a:pt x="86" y="142"/>
                      </a:lnTo>
                      <a:lnTo>
                        <a:pt x="69" y="134"/>
                      </a:lnTo>
                      <a:lnTo>
                        <a:pt x="78" y="164"/>
                      </a:lnTo>
                      <a:lnTo>
                        <a:pt x="59" y="178"/>
                      </a:lnTo>
                      <a:lnTo>
                        <a:pt x="47" y="145"/>
                      </a:lnTo>
                      <a:lnTo>
                        <a:pt x="37" y="137"/>
                      </a:lnTo>
                      <a:lnTo>
                        <a:pt x="37" y="117"/>
                      </a:lnTo>
                      <a:lnTo>
                        <a:pt x="24" y="95"/>
                      </a:lnTo>
                      <a:lnTo>
                        <a:pt x="8" y="81"/>
                      </a:lnTo>
                      <a:lnTo>
                        <a:pt x="0" y="67"/>
                      </a:lnTo>
                      <a:lnTo>
                        <a:pt x="4" y="56"/>
                      </a:lnTo>
                      <a:lnTo>
                        <a:pt x="16" y="61"/>
                      </a:lnTo>
                      <a:lnTo>
                        <a:pt x="20" y="47"/>
                      </a:lnTo>
                      <a:lnTo>
                        <a:pt x="16" y="28"/>
                      </a:lnTo>
                      <a:lnTo>
                        <a:pt x="14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6" name="Freeform 22"/>
                <p:cNvSpPr>
                  <a:spLocks/>
                </p:cNvSpPr>
                <p:nvPr/>
              </p:nvSpPr>
              <p:spPr bwMode="auto">
                <a:xfrm>
                  <a:off x="4619" y="1452"/>
                  <a:ext cx="150" cy="289"/>
                </a:xfrm>
                <a:custGeom>
                  <a:avLst/>
                  <a:gdLst>
                    <a:gd name="T0" fmla="*/ 31 w 150"/>
                    <a:gd name="T1" fmla="*/ 0 h 289"/>
                    <a:gd name="T2" fmla="*/ 60 w 150"/>
                    <a:gd name="T3" fmla="*/ 20 h 289"/>
                    <a:gd name="T4" fmla="*/ 77 w 150"/>
                    <a:gd name="T5" fmla="*/ 36 h 289"/>
                    <a:gd name="T6" fmla="*/ 89 w 150"/>
                    <a:gd name="T7" fmla="*/ 62 h 289"/>
                    <a:gd name="T8" fmla="*/ 99 w 150"/>
                    <a:gd name="T9" fmla="*/ 62 h 289"/>
                    <a:gd name="T10" fmla="*/ 97 w 150"/>
                    <a:gd name="T11" fmla="*/ 78 h 289"/>
                    <a:gd name="T12" fmla="*/ 108 w 150"/>
                    <a:gd name="T13" fmla="*/ 89 h 289"/>
                    <a:gd name="T14" fmla="*/ 116 w 150"/>
                    <a:gd name="T15" fmla="*/ 106 h 289"/>
                    <a:gd name="T16" fmla="*/ 135 w 150"/>
                    <a:gd name="T17" fmla="*/ 140 h 289"/>
                    <a:gd name="T18" fmla="*/ 149 w 150"/>
                    <a:gd name="T19" fmla="*/ 179 h 289"/>
                    <a:gd name="T20" fmla="*/ 124 w 150"/>
                    <a:gd name="T21" fmla="*/ 176 h 289"/>
                    <a:gd name="T22" fmla="*/ 104 w 150"/>
                    <a:gd name="T23" fmla="*/ 171 h 289"/>
                    <a:gd name="T24" fmla="*/ 118 w 150"/>
                    <a:gd name="T25" fmla="*/ 199 h 289"/>
                    <a:gd name="T26" fmla="*/ 118 w 150"/>
                    <a:gd name="T27" fmla="*/ 215 h 289"/>
                    <a:gd name="T28" fmla="*/ 118 w 150"/>
                    <a:gd name="T29" fmla="*/ 232 h 289"/>
                    <a:gd name="T30" fmla="*/ 110 w 150"/>
                    <a:gd name="T31" fmla="*/ 224 h 289"/>
                    <a:gd name="T32" fmla="*/ 101 w 150"/>
                    <a:gd name="T33" fmla="*/ 210 h 289"/>
                    <a:gd name="T34" fmla="*/ 83 w 150"/>
                    <a:gd name="T35" fmla="*/ 193 h 289"/>
                    <a:gd name="T36" fmla="*/ 74 w 150"/>
                    <a:gd name="T37" fmla="*/ 185 h 289"/>
                    <a:gd name="T38" fmla="*/ 58 w 150"/>
                    <a:gd name="T39" fmla="*/ 193 h 289"/>
                    <a:gd name="T40" fmla="*/ 48 w 150"/>
                    <a:gd name="T41" fmla="*/ 199 h 289"/>
                    <a:gd name="T42" fmla="*/ 54 w 150"/>
                    <a:gd name="T43" fmla="*/ 213 h 289"/>
                    <a:gd name="T44" fmla="*/ 70 w 150"/>
                    <a:gd name="T45" fmla="*/ 224 h 289"/>
                    <a:gd name="T46" fmla="*/ 85 w 150"/>
                    <a:gd name="T47" fmla="*/ 235 h 289"/>
                    <a:gd name="T48" fmla="*/ 91 w 150"/>
                    <a:gd name="T49" fmla="*/ 254 h 289"/>
                    <a:gd name="T50" fmla="*/ 89 w 150"/>
                    <a:gd name="T51" fmla="*/ 280 h 289"/>
                    <a:gd name="T52" fmla="*/ 89 w 150"/>
                    <a:gd name="T53" fmla="*/ 288 h 289"/>
                    <a:gd name="T54" fmla="*/ 83 w 150"/>
                    <a:gd name="T55" fmla="*/ 288 h 289"/>
                    <a:gd name="T56" fmla="*/ 74 w 150"/>
                    <a:gd name="T57" fmla="*/ 280 h 289"/>
                    <a:gd name="T58" fmla="*/ 70 w 150"/>
                    <a:gd name="T59" fmla="*/ 277 h 289"/>
                    <a:gd name="T60" fmla="*/ 64 w 150"/>
                    <a:gd name="T61" fmla="*/ 271 h 289"/>
                    <a:gd name="T62" fmla="*/ 58 w 150"/>
                    <a:gd name="T63" fmla="*/ 285 h 289"/>
                    <a:gd name="T64" fmla="*/ 48 w 150"/>
                    <a:gd name="T65" fmla="*/ 288 h 289"/>
                    <a:gd name="T66" fmla="*/ 41 w 150"/>
                    <a:gd name="T67" fmla="*/ 277 h 289"/>
                    <a:gd name="T68" fmla="*/ 41 w 150"/>
                    <a:gd name="T69" fmla="*/ 252 h 289"/>
                    <a:gd name="T70" fmla="*/ 39 w 150"/>
                    <a:gd name="T71" fmla="*/ 238 h 289"/>
                    <a:gd name="T72" fmla="*/ 29 w 150"/>
                    <a:gd name="T73" fmla="*/ 229 h 289"/>
                    <a:gd name="T74" fmla="*/ 19 w 150"/>
                    <a:gd name="T75" fmla="*/ 243 h 289"/>
                    <a:gd name="T76" fmla="*/ 4 w 150"/>
                    <a:gd name="T77" fmla="*/ 243 h 289"/>
                    <a:gd name="T78" fmla="*/ 0 w 150"/>
                    <a:gd name="T79" fmla="*/ 232 h 289"/>
                    <a:gd name="T80" fmla="*/ 4 w 150"/>
                    <a:gd name="T81" fmla="*/ 204 h 289"/>
                    <a:gd name="T82" fmla="*/ 15 w 150"/>
                    <a:gd name="T83" fmla="*/ 187 h 289"/>
                    <a:gd name="T84" fmla="*/ 14 w 150"/>
                    <a:gd name="T85" fmla="*/ 143 h 289"/>
                    <a:gd name="T86" fmla="*/ 14 w 150"/>
                    <a:gd name="T87" fmla="*/ 131 h 289"/>
                    <a:gd name="T88" fmla="*/ 25 w 150"/>
                    <a:gd name="T89" fmla="*/ 129 h 289"/>
                    <a:gd name="T90" fmla="*/ 35 w 150"/>
                    <a:gd name="T91" fmla="*/ 140 h 289"/>
                    <a:gd name="T92" fmla="*/ 52 w 150"/>
                    <a:gd name="T93" fmla="*/ 145 h 289"/>
                    <a:gd name="T94" fmla="*/ 52 w 150"/>
                    <a:gd name="T95" fmla="*/ 126 h 289"/>
                    <a:gd name="T96" fmla="*/ 45 w 150"/>
                    <a:gd name="T97" fmla="*/ 115 h 289"/>
                    <a:gd name="T98" fmla="*/ 41 w 150"/>
                    <a:gd name="T99" fmla="*/ 106 h 289"/>
                    <a:gd name="T100" fmla="*/ 46 w 150"/>
                    <a:gd name="T101" fmla="*/ 106 h 289"/>
                    <a:gd name="T102" fmla="*/ 50 w 150"/>
                    <a:gd name="T103" fmla="*/ 106 h 289"/>
                    <a:gd name="T104" fmla="*/ 54 w 150"/>
                    <a:gd name="T105" fmla="*/ 106 h 289"/>
                    <a:gd name="T106" fmla="*/ 58 w 150"/>
                    <a:gd name="T107" fmla="*/ 106 h 289"/>
                    <a:gd name="T108" fmla="*/ 64 w 150"/>
                    <a:gd name="T109" fmla="*/ 98 h 289"/>
                    <a:gd name="T110" fmla="*/ 62 w 150"/>
                    <a:gd name="T111" fmla="*/ 89 h 289"/>
                    <a:gd name="T112" fmla="*/ 56 w 150"/>
                    <a:gd name="T113" fmla="*/ 70 h 289"/>
                    <a:gd name="T114" fmla="*/ 45 w 150"/>
                    <a:gd name="T115" fmla="*/ 50 h 289"/>
                    <a:gd name="T116" fmla="*/ 29 w 150"/>
                    <a:gd name="T117" fmla="*/ 39 h 289"/>
                    <a:gd name="T118" fmla="*/ 23 w 150"/>
                    <a:gd name="T119" fmla="*/ 28 h 289"/>
                    <a:gd name="T120" fmla="*/ 31 w 150"/>
                    <a:gd name="T121" fmla="*/ 0 h 2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50" h="289">
                      <a:moveTo>
                        <a:pt x="31" y="0"/>
                      </a:moveTo>
                      <a:lnTo>
                        <a:pt x="60" y="20"/>
                      </a:lnTo>
                      <a:lnTo>
                        <a:pt x="77" y="36"/>
                      </a:lnTo>
                      <a:lnTo>
                        <a:pt x="89" y="62"/>
                      </a:lnTo>
                      <a:lnTo>
                        <a:pt x="99" y="62"/>
                      </a:lnTo>
                      <a:lnTo>
                        <a:pt x="97" y="78"/>
                      </a:lnTo>
                      <a:lnTo>
                        <a:pt x="108" y="89"/>
                      </a:lnTo>
                      <a:lnTo>
                        <a:pt x="116" y="106"/>
                      </a:lnTo>
                      <a:lnTo>
                        <a:pt x="135" y="140"/>
                      </a:lnTo>
                      <a:lnTo>
                        <a:pt x="149" y="179"/>
                      </a:lnTo>
                      <a:lnTo>
                        <a:pt x="124" y="176"/>
                      </a:lnTo>
                      <a:lnTo>
                        <a:pt x="104" y="171"/>
                      </a:lnTo>
                      <a:lnTo>
                        <a:pt x="118" y="199"/>
                      </a:lnTo>
                      <a:lnTo>
                        <a:pt x="118" y="215"/>
                      </a:lnTo>
                      <a:lnTo>
                        <a:pt x="118" y="232"/>
                      </a:lnTo>
                      <a:lnTo>
                        <a:pt x="110" y="224"/>
                      </a:lnTo>
                      <a:lnTo>
                        <a:pt x="101" y="210"/>
                      </a:lnTo>
                      <a:lnTo>
                        <a:pt x="83" y="193"/>
                      </a:lnTo>
                      <a:lnTo>
                        <a:pt x="74" y="185"/>
                      </a:lnTo>
                      <a:lnTo>
                        <a:pt x="58" y="193"/>
                      </a:lnTo>
                      <a:lnTo>
                        <a:pt x="48" y="199"/>
                      </a:lnTo>
                      <a:lnTo>
                        <a:pt x="54" y="213"/>
                      </a:lnTo>
                      <a:lnTo>
                        <a:pt x="70" y="224"/>
                      </a:lnTo>
                      <a:lnTo>
                        <a:pt x="85" y="235"/>
                      </a:lnTo>
                      <a:lnTo>
                        <a:pt x="91" y="254"/>
                      </a:lnTo>
                      <a:lnTo>
                        <a:pt x="89" y="280"/>
                      </a:lnTo>
                      <a:lnTo>
                        <a:pt x="89" y="288"/>
                      </a:lnTo>
                      <a:lnTo>
                        <a:pt x="83" y="288"/>
                      </a:lnTo>
                      <a:lnTo>
                        <a:pt x="74" y="280"/>
                      </a:lnTo>
                      <a:lnTo>
                        <a:pt x="70" y="277"/>
                      </a:lnTo>
                      <a:lnTo>
                        <a:pt x="64" y="271"/>
                      </a:lnTo>
                      <a:lnTo>
                        <a:pt x="58" y="285"/>
                      </a:lnTo>
                      <a:lnTo>
                        <a:pt x="48" y="288"/>
                      </a:lnTo>
                      <a:lnTo>
                        <a:pt x="41" y="277"/>
                      </a:lnTo>
                      <a:lnTo>
                        <a:pt x="41" y="252"/>
                      </a:lnTo>
                      <a:lnTo>
                        <a:pt x="39" y="238"/>
                      </a:lnTo>
                      <a:lnTo>
                        <a:pt x="29" y="229"/>
                      </a:lnTo>
                      <a:lnTo>
                        <a:pt x="19" y="243"/>
                      </a:lnTo>
                      <a:lnTo>
                        <a:pt x="4" y="243"/>
                      </a:lnTo>
                      <a:lnTo>
                        <a:pt x="0" y="232"/>
                      </a:lnTo>
                      <a:lnTo>
                        <a:pt x="4" y="204"/>
                      </a:lnTo>
                      <a:lnTo>
                        <a:pt x="15" y="187"/>
                      </a:lnTo>
                      <a:lnTo>
                        <a:pt x="14" y="143"/>
                      </a:lnTo>
                      <a:lnTo>
                        <a:pt x="14" y="131"/>
                      </a:lnTo>
                      <a:lnTo>
                        <a:pt x="25" y="129"/>
                      </a:lnTo>
                      <a:lnTo>
                        <a:pt x="35" y="140"/>
                      </a:lnTo>
                      <a:lnTo>
                        <a:pt x="52" y="145"/>
                      </a:lnTo>
                      <a:lnTo>
                        <a:pt x="52" y="126"/>
                      </a:lnTo>
                      <a:lnTo>
                        <a:pt x="45" y="115"/>
                      </a:lnTo>
                      <a:lnTo>
                        <a:pt x="41" y="106"/>
                      </a:lnTo>
                      <a:lnTo>
                        <a:pt x="46" y="106"/>
                      </a:lnTo>
                      <a:lnTo>
                        <a:pt x="50" y="106"/>
                      </a:lnTo>
                      <a:lnTo>
                        <a:pt x="54" y="106"/>
                      </a:lnTo>
                      <a:lnTo>
                        <a:pt x="58" y="106"/>
                      </a:lnTo>
                      <a:lnTo>
                        <a:pt x="64" y="98"/>
                      </a:lnTo>
                      <a:lnTo>
                        <a:pt x="62" y="89"/>
                      </a:lnTo>
                      <a:lnTo>
                        <a:pt x="56" y="70"/>
                      </a:lnTo>
                      <a:lnTo>
                        <a:pt x="45" y="50"/>
                      </a:lnTo>
                      <a:lnTo>
                        <a:pt x="29" y="39"/>
                      </a:lnTo>
                      <a:lnTo>
                        <a:pt x="23" y="28"/>
                      </a:lnTo>
                      <a:lnTo>
                        <a:pt x="31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7" name="Freeform 23"/>
                <p:cNvSpPr>
                  <a:spLocks/>
                </p:cNvSpPr>
                <p:nvPr/>
              </p:nvSpPr>
              <p:spPr bwMode="auto">
                <a:xfrm>
                  <a:off x="4448" y="1104"/>
                  <a:ext cx="165" cy="237"/>
                </a:xfrm>
                <a:custGeom>
                  <a:avLst/>
                  <a:gdLst>
                    <a:gd name="T0" fmla="*/ 0 w 165"/>
                    <a:gd name="T1" fmla="*/ 0 h 237"/>
                    <a:gd name="T2" fmla="*/ 16 w 165"/>
                    <a:gd name="T3" fmla="*/ 0 h 237"/>
                    <a:gd name="T4" fmla="*/ 21 w 165"/>
                    <a:gd name="T5" fmla="*/ 17 h 237"/>
                    <a:gd name="T6" fmla="*/ 43 w 165"/>
                    <a:gd name="T7" fmla="*/ 42 h 237"/>
                    <a:gd name="T8" fmla="*/ 53 w 165"/>
                    <a:gd name="T9" fmla="*/ 69 h 237"/>
                    <a:gd name="T10" fmla="*/ 68 w 165"/>
                    <a:gd name="T11" fmla="*/ 72 h 237"/>
                    <a:gd name="T12" fmla="*/ 80 w 165"/>
                    <a:gd name="T13" fmla="*/ 78 h 237"/>
                    <a:gd name="T14" fmla="*/ 90 w 165"/>
                    <a:gd name="T15" fmla="*/ 89 h 237"/>
                    <a:gd name="T16" fmla="*/ 102 w 165"/>
                    <a:gd name="T17" fmla="*/ 89 h 237"/>
                    <a:gd name="T18" fmla="*/ 115 w 165"/>
                    <a:gd name="T19" fmla="*/ 106 h 237"/>
                    <a:gd name="T20" fmla="*/ 127 w 165"/>
                    <a:gd name="T21" fmla="*/ 119 h 237"/>
                    <a:gd name="T22" fmla="*/ 141 w 165"/>
                    <a:gd name="T23" fmla="*/ 128 h 237"/>
                    <a:gd name="T24" fmla="*/ 139 w 165"/>
                    <a:gd name="T25" fmla="*/ 136 h 237"/>
                    <a:gd name="T26" fmla="*/ 131 w 165"/>
                    <a:gd name="T27" fmla="*/ 142 h 237"/>
                    <a:gd name="T28" fmla="*/ 123 w 165"/>
                    <a:gd name="T29" fmla="*/ 142 h 237"/>
                    <a:gd name="T30" fmla="*/ 119 w 165"/>
                    <a:gd name="T31" fmla="*/ 150 h 237"/>
                    <a:gd name="T32" fmla="*/ 135 w 165"/>
                    <a:gd name="T33" fmla="*/ 167 h 237"/>
                    <a:gd name="T34" fmla="*/ 146 w 165"/>
                    <a:gd name="T35" fmla="*/ 183 h 237"/>
                    <a:gd name="T36" fmla="*/ 164 w 165"/>
                    <a:gd name="T37" fmla="*/ 200 h 237"/>
                    <a:gd name="T38" fmla="*/ 152 w 165"/>
                    <a:gd name="T39" fmla="*/ 219 h 237"/>
                    <a:gd name="T40" fmla="*/ 143 w 165"/>
                    <a:gd name="T41" fmla="*/ 225 h 237"/>
                    <a:gd name="T42" fmla="*/ 144 w 165"/>
                    <a:gd name="T43" fmla="*/ 236 h 237"/>
                    <a:gd name="T44" fmla="*/ 127 w 165"/>
                    <a:gd name="T45" fmla="*/ 236 h 237"/>
                    <a:gd name="T46" fmla="*/ 121 w 165"/>
                    <a:gd name="T47" fmla="*/ 228 h 237"/>
                    <a:gd name="T48" fmla="*/ 107 w 165"/>
                    <a:gd name="T49" fmla="*/ 205 h 237"/>
                    <a:gd name="T50" fmla="*/ 98 w 165"/>
                    <a:gd name="T51" fmla="*/ 186 h 237"/>
                    <a:gd name="T52" fmla="*/ 82 w 165"/>
                    <a:gd name="T53" fmla="*/ 153 h 237"/>
                    <a:gd name="T54" fmla="*/ 64 w 165"/>
                    <a:gd name="T55" fmla="*/ 128 h 237"/>
                    <a:gd name="T56" fmla="*/ 45 w 165"/>
                    <a:gd name="T57" fmla="*/ 92 h 237"/>
                    <a:gd name="T58" fmla="*/ 33 w 165"/>
                    <a:gd name="T59" fmla="*/ 81 h 237"/>
                    <a:gd name="T60" fmla="*/ 23 w 165"/>
                    <a:gd name="T61" fmla="*/ 72 h 237"/>
                    <a:gd name="T62" fmla="*/ 20 w 165"/>
                    <a:gd name="T63" fmla="*/ 53 h 237"/>
                    <a:gd name="T64" fmla="*/ 2 w 165"/>
                    <a:gd name="T65" fmla="*/ 36 h 237"/>
                    <a:gd name="T66" fmla="*/ 2 w 165"/>
                    <a:gd name="T67" fmla="*/ 25 h 237"/>
                    <a:gd name="T68" fmla="*/ 0 w 165"/>
                    <a:gd name="T69" fmla="*/ 0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5" h="237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21" y="17"/>
                      </a:lnTo>
                      <a:lnTo>
                        <a:pt x="43" y="42"/>
                      </a:lnTo>
                      <a:lnTo>
                        <a:pt x="53" y="69"/>
                      </a:lnTo>
                      <a:lnTo>
                        <a:pt x="68" y="72"/>
                      </a:lnTo>
                      <a:lnTo>
                        <a:pt x="80" y="78"/>
                      </a:lnTo>
                      <a:lnTo>
                        <a:pt x="90" y="89"/>
                      </a:lnTo>
                      <a:lnTo>
                        <a:pt x="102" y="89"/>
                      </a:lnTo>
                      <a:lnTo>
                        <a:pt x="115" y="106"/>
                      </a:lnTo>
                      <a:lnTo>
                        <a:pt x="127" y="119"/>
                      </a:lnTo>
                      <a:lnTo>
                        <a:pt x="141" y="128"/>
                      </a:lnTo>
                      <a:lnTo>
                        <a:pt x="139" y="136"/>
                      </a:lnTo>
                      <a:lnTo>
                        <a:pt x="131" y="142"/>
                      </a:lnTo>
                      <a:lnTo>
                        <a:pt x="123" y="142"/>
                      </a:lnTo>
                      <a:lnTo>
                        <a:pt x="119" y="150"/>
                      </a:lnTo>
                      <a:lnTo>
                        <a:pt x="135" y="167"/>
                      </a:lnTo>
                      <a:lnTo>
                        <a:pt x="146" y="183"/>
                      </a:lnTo>
                      <a:lnTo>
                        <a:pt x="164" y="200"/>
                      </a:lnTo>
                      <a:lnTo>
                        <a:pt x="152" y="219"/>
                      </a:lnTo>
                      <a:lnTo>
                        <a:pt x="143" y="225"/>
                      </a:lnTo>
                      <a:lnTo>
                        <a:pt x="144" y="236"/>
                      </a:lnTo>
                      <a:lnTo>
                        <a:pt x="127" y="236"/>
                      </a:lnTo>
                      <a:lnTo>
                        <a:pt x="121" y="228"/>
                      </a:lnTo>
                      <a:lnTo>
                        <a:pt x="107" y="205"/>
                      </a:lnTo>
                      <a:lnTo>
                        <a:pt x="98" y="186"/>
                      </a:lnTo>
                      <a:lnTo>
                        <a:pt x="82" y="153"/>
                      </a:lnTo>
                      <a:lnTo>
                        <a:pt x="64" y="128"/>
                      </a:lnTo>
                      <a:lnTo>
                        <a:pt x="45" y="92"/>
                      </a:lnTo>
                      <a:lnTo>
                        <a:pt x="33" y="81"/>
                      </a:lnTo>
                      <a:lnTo>
                        <a:pt x="23" y="72"/>
                      </a:lnTo>
                      <a:lnTo>
                        <a:pt x="20" y="53"/>
                      </a:lnTo>
                      <a:lnTo>
                        <a:pt x="2" y="36"/>
                      </a:lnTo>
                      <a:lnTo>
                        <a:pt x="2" y="2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  <p:grpSp>
            <p:nvGrpSpPr>
              <p:cNvPr id="1057" name="Group 33"/>
              <p:cNvGrpSpPr>
                <a:grpSpLocks/>
              </p:cNvGrpSpPr>
              <p:nvPr/>
            </p:nvGrpSpPr>
            <p:grpSpPr bwMode="auto">
              <a:xfrm>
                <a:off x="2314" y="617"/>
                <a:ext cx="2387" cy="2766"/>
                <a:chOff x="2314" y="617"/>
                <a:chExt cx="2387" cy="2766"/>
              </a:xfrm>
            </p:grpSpPr>
            <p:sp>
              <p:nvSpPr>
                <p:cNvPr id="1049" name="Freeform 25"/>
                <p:cNvSpPr>
                  <a:spLocks/>
                </p:cNvSpPr>
                <p:nvPr/>
              </p:nvSpPr>
              <p:spPr bwMode="auto">
                <a:xfrm>
                  <a:off x="2314" y="1584"/>
                  <a:ext cx="1187" cy="1799"/>
                </a:xfrm>
                <a:custGeom>
                  <a:avLst/>
                  <a:gdLst>
                    <a:gd name="T0" fmla="*/ 906 w 1187"/>
                    <a:gd name="T1" fmla="*/ 290 h 1799"/>
                    <a:gd name="T2" fmla="*/ 1017 w 1187"/>
                    <a:gd name="T3" fmla="*/ 589 h 1799"/>
                    <a:gd name="T4" fmla="*/ 1062 w 1187"/>
                    <a:gd name="T5" fmla="*/ 664 h 1799"/>
                    <a:gd name="T6" fmla="*/ 1159 w 1187"/>
                    <a:gd name="T7" fmla="*/ 645 h 1799"/>
                    <a:gd name="T8" fmla="*/ 1184 w 1187"/>
                    <a:gd name="T9" fmla="*/ 718 h 1799"/>
                    <a:gd name="T10" fmla="*/ 1067 w 1187"/>
                    <a:gd name="T11" fmla="*/ 919 h 1799"/>
                    <a:gd name="T12" fmla="*/ 972 w 1187"/>
                    <a:gd name="T13" fmla="*/ 1150 h 1799"/>
                    <a:gd name="T14" fmla="*/ 986 w 1187"/>
                    <a:gd name="T15" fmla="*/ 1234 h 1799"/>
                    <a:gd name="T16" fmla="*/ 986 w 1187"/>
                    <a:gd name="T17" fmla="*/ 1318 h 1799"/>
                    <a:gd name="T18" fmla="*/ 943 w 1187"/>
                    <a:gd name="T19" fmla="*/ 1349 h 1799"/>
                    <a:gd name="T20" fmla="*/ 881 w 1187"/>
                    <a:gd name="T21" fmla="*/ 1463 h 1799"/>
                    <a:gd name="T22" fmla="*/ 857 w 1187"/>
                    <a:gd name="T23" fmla="*/ 1561 h 1799"/>
                    <a:gd name="T24" fmla="*/ 799 w 1187"/>
                    <a:gd name="T25" fmla="*/ 1695 h 1799"/>
                    <a:gd name="T26" fmla="*/ 766 w 1187"/>
                    <a:gd name="T27" fmla="*/ 1725 h 1799"/>
                    <a:gd name="T28" fmla="*/ 694 w 1187"/>
                    <a:gd name="T29" fmla="*/ 1792 h 1799"/>
                    <a:gd name="T30" fmla="*/ 607 w 1187"/>
                    <a:gd name="T31" fmla="*/ 1770 h 1799"/>
                    <a:gd name="T32" fmla="*/ 597 w 1187"/>
                    <a:gd name="T33" fmla="*/ 1706 h 1799"/>
                    <a:gd name="T34" fmla="*/ 558 w 1187"/>
                    <a:gd name="T35" fmla="*/ 1617 h 1799"/>
                    <a:gd name="T36" fmla="*/ 550 w 1187"/>
                    <a:gd name="T37" fmla="*/ 1541 h 1799"/>
                    <a:gd name="T38" fmla="*/ 539 w 1187"/>
                    <a:gd name="T39" fmla="*/ 1491 h 1799"/>
                    <a:gd name="T40" fmla="*/ 502 w 1187"/>
                    <a:gd name="T41" fmla="*/ 1435 h 1799"/>
                    <a:gd name="T42" fmla="*/ 478 w 1187"/>
                    <a:gd name="T43" fmla="*/ 1362 h 1799"/>
                    <a:gd name="T44" fmla="*/ 511 w 1187"/>
                    <a:gd name="T45" fmla="*/ 1240 h 1799"/>
                    <a:gd name="T46" fmla="*/ 496 w 1187"/>
                    <a:gd name="T47" fmla="*/ 1067 h 1799"/>
                    <a:gd name="T48" fmla="*/ 443 w 1187"/>
                    <a:gd name="T49" fmla="*/ 980 h 1799"/>
                    <a:gd name="T50" fmla="*/ 436 w 1187"/>
                    <a:gd name="T51" fmla="*/ 843 h 1799"/>
                    <a:gd name="T52" fmla="*/ 360 w 1187"/>
                    <a:gd name="T53" fmla="*/ 793 h 1799"/>
                    <a:gd name="T54" fmla="*/ 261 w 1187"/>
                    <a:gd name="T55" fmla="*/ 807 h 1799"/>
                    <a:gd name="T56" fmla="*/ 56 w 1187"/>
                    <a:gd name="T57" fmla="*/ 698 h 1799"/>
                    <a:gd name="T58" fmla="*/ 10 w 1187"/>
                    <a:gd name="T59" fmla="*/ 522 h 1799"/>
                    <a:gd name="T60" fmla="*/ 47 w 1187"/>
                    <a:gd name="T61" fmla="*/ 396 h 1799"/>
                    <a:gd name="T62" fmla="*/ 115 w 1187"/>
                    <a:gd name="T63" fmla="*/ 260 h 1799"/>
                    <a:gd name="T64" fmla="*/ 216 w 1187"/>
                    <a:gd name="T65" fmla="*/ 156 h 1799"/>
                    <a:gd name="T66" fmla="*/ 292 w 1187"/>
                    <a:gd name="T67" fmla="*/ 47 h 1799"/>
                    <a:gd name="T68" fmla="*/ 362 w 1187"/>
                    <a:gd name="T69" fmla="*/ 75 h 1799"/>
                    <a:gd name="T70" fmla="*/ 437 w 1187"/>
                    <a:gd name="T71" fmla="*/ 28 h 1799"/>
                    <a:gd name="T72" fmla="*/ 490 w 1187"/>
                    <a:gd name="T73" fmla="*/ 6 h 1799"/>
                    <a:gd name="T74" fmla="*/ 531 w 1187"/>
                    <a:gd name="T75" fmla="*/ 61 h 1799"/>
                    <a:gd name="T76" fmla="*/ 612 w 1187"/>
                    <a:gd name="T77" fmla="*/ 151 h 1799"/>
                    <a:gd name="T78" fmla="*/ 669 w 1187"/>
                    <a:gd name="T79" fmla="*/ 109 h 1799"/>
                    <a:gd name="T80" fmla="*/ 754 w 1187"/>
                    <a:gd name="T81" fmla="*/ 140 h 1799"/>
                    <a:gd name="T82" fmla="*/ 848 w 1187"/>
                    <a:gd name="T83" fmla="*/ 137 h 17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87" h="1799">
                      <a:moveTo>
                        <a:pt x="887" y="215"/>
                      </a:moveTo>
                      <a:lnTo>
                        <a:pt x="906" y="290"/>
                      </a:lnTo>
                      <a:lnTo>
                        <a:pt x="943" y="405"/>
                      </a:lnTo>
                      <a:lnTo>
                        <a:pt x="1017" y="589"/>
                      </a:lnTo>
                      <a:lnTo>
                        <a:pt x="1044" y="611"/>
                      </a:lnTo>
                      <a:lnTo>
                        <a:pt x="1062" y="664"/>
                      </a:lnTo>
                      <a:lnTo>
                        <a:pt x="1120" y="662"/>
                      </a:lnTo>
                      <a:lnTo>
                        <a:pt x="1159" y="645"/>
                      </a:lnTo>
                      <a:lnTo>
                        <a:pt x="1186" y="645"/>
                      </a:lnTo>
                      <a:lnTo>
                        <a:pt x="1184" y="718"/>
                      </a:lnTo>
                      <a:lnTo>
                        <a:pt x="1174" y="757"/>
                      </a:lnTo>
                      <a:lnTo>
                        <a:pt x="1067" y="919"/>
                      </a:lnTo>
                      <a:lnTo>
                        <a:pt x="970" y="1086"/>
                      </a:lnTo>
                      <a:lnTo>
                        <a:pt x="972" y="1150"/>
                      </a:lnTo>
                      <a:lnTo>
                        <a:pt x="999" y="1198"/>
                      </a:lnTo>
                      <a:lnTo>
                        <a:pt x="986" y="1234"/>
                      </a:lnTo>
                      <a:lnTo>
                        <a:pt x="994" y="1281"/>
                      </a:lnTo>
                      <a:lnTo>
                        <a:pt x="986" y="1318"/>
                      </a:lnTo>
                      <a:lnTo>
                        <a:pt x="962" y="1349"/>
                      </a:lnTo>
                      <a:lnTo>
                        <a:pt x="943" y="1349"/>
                      </a:lnTo>
                      <a:lnTo>
                        <a:pt x="910" y="1402"/>
                      </a:lnTo>
                      <a:lnTo>
                        <a:pt x="881" y="1463"/>
                      </a:lnTo>
                      <a:lnTo>
                        <a:pt x="887" y="1530"/>
                      </a:lnTo>
                      <a:lnTo>
                        <a:pt x="857" y="1561"/>
                      </a:lnTo>
                      <a:lnTo>
                        <a:pt x="830" y="1630"/>
                      </a:lnTo>
                      <a:lnTo>
                        <a:pt x="799" y="1695"/>
                      </a:lnTo>
                      <a:lnTo>
                        <a:pt x="782" y="1720"/>
                      </a:lnTo>
                      <a:lnTo>
                        <a:pt x="766" y="1725"/>
                      </a:lnTo>
                      <a:lnTo>
                        <a:pt x="739" y="1767"/>
                      </a:lnTo>
                      <a:lnTo>
                        <a:pt x="694" y="1792"/>
                      </a:lnTo>
                      <a:lnTo>
                        <a:pt x="638" y="1798"/>
                      </a:lnTo>
                      <a:lnTo>
                        <a:pt x="607" y="1770"/>
                      </a:lnTo>
                      <a:lnTo>
                        <a:pt x="603" y="1742"/>
                      </a:lnTo>
                      <a:lnTo>
                        <a:pt x="597" y="1706"/>
                      </a:lnTo>
                      <a:lnTo>
                        <a:pt x="576" y="1686"/>
                      </a:lnTo>
                      <a:lnTo>
                        <a:pt x="558" y="1617"/>
                      </a:lnTo>
                      <a:lnTo>
                        <a:pt x="552" y="1583"/>
                      </a:lnTo>
                      <a:lnTo>
                        <a:pt x="550" y="1541"/>
                      </a:lnTo>
                      <a:lnTo>
                        <a:pt x="541" y="1510"/>
                      </a:lnTo>
                      <a:lnTo>
                        <a:pt x="539" y="1491"/>
                      </a:lnTo>
                      <a:lnTo>
                        <a:pt x="521" y="1460"/>
                      </a:lnTo>
                      <a:lnTo>
                        <a:pt x="502" y="1435"/>
                      </a:lnTo>
                      <a:lnTo>
                        <a:pt x="488" y="1393"/>
                      </a:lnTo>
                      <a:lnTo>
                        <a:pt x="478" y="1362"/>
                      </a:lnTo>
                      <a:lnTo>
                        <a:pt x="482" y="1312"/>
                      </a:lnTo>
                      <a:lnTo>
                        <a:pt x="511" y="1240"/>
                      </a:lnTo>
                      <a:lnTo>
                        <a:pt x="517" y="1159"/>
                      </a:lnTo>
                      <a:lnTo>
                        <a:pt x="496" y="1067"/>
                      </a:lnTo>
                      <a:lnTo>
                        <a:pt x="465" y="1030"/>
                      </a:lnTo>
                      <a:lnTo>
                        <a:pt x="443" y="980"/>
                      </a:lnTo>
                      <a:lnTo>
                        <a:pt x="451" y="902"/>
                      </a:lnTo>
                      <a:lnTo>
                        <a:pt x="436" y="843"/>
                      </a:lnTo>
                      <a:lnTo>
                        <a:pt x="399" y="838"/>
                      </a:lnTo>
                      <a:lnTo>
                        <a:pt x="360" y="793"/>
                      </a:lnTo>
                      <a:lnTo>
                        <a:pt x="311" y="768"/>
                      </a:lnTo>
                      <a:lnTo>
                        <a:pt x="261" y="807"/>
                      </a:lnTo>
                      <a:lnTo>
                        <a:pt x="128" y="796"/>
                      </a:lnTo>
                      <a:lnTo>
                        <a:pt x="56" y="698"/>
                      </a:lnTo>
                      <a:lnTo>
                        <a:pt x="0" y="567"/>
                      </a:lnTo>
                      <a:lnTo>
                        <a:pt x="10" y="522"/>
                      </a:lnTo>
                      <a:lnTo>
                        <a:pt x="35" y="489"/>
                      </a:lnTo>
                      <a:lnTo>
                        <a:pt x="47" y="396"/>
                      </a:lnTo>
                      <a:lnTo>
                        <a:pt x="64" y="329"/>
                      </a:lnTo>
                      <a:lnTo>
                        <a:pt x="115" y="260"/>
                      </a:lnTo>
                      <a:lnTo>
                        <a:pt x="167" y="229"/>
                      </a:lnTo>
                      <a:lnTo>
                        <a:pt x="216" y="156"/>
                      </a:lnTo>
                      <a:lnTo>
                        <a:pt x="227" y="126"/>
                      </a:lnTo>
                      <a:lnTo>
                        <a:pt x="292" y="47"/>
                      </a:lnTo>
                      <a:lnTo>
                        <a:pt x="332" y="78"/>
                      </a:lnTo>
                      <a:lnTo>
                        <a:pt x="362" y="75"/>
                      </a:lnTo>
                      <a:lnTo>
                        <a:pt x="397" y="34"/>
                      </a:lnTo>
                      <a:lnTo>
                        <a:pt x="437" y="28"/>
                      </a:lnTo>
                      <a:lnTo>
                        <a:pt x="465" y="39"/>
                      </a:lnTo>
                      <a:lnTo>
                        <a:pt x="490" y="6"/>
                      </a:lnTo>
                      <a:lnTo>
                        <a:pt x="523" y="0"/>
                      </a:lnTo>
                      <a:lnTo>
                        <a:pt x="531" y="61"/>
                      </a:lnTo>
                      <a:lnTo>
                        <a:pt x="552" y="106"/>
                      </a:lnTo>
                      <a:lnTo>
                        <a:pt x="612" y="151"/>
                      </a:lnTo>
                      <a:lnTo>
                        <a:pt x="663" y="159"/>
                      </a:lnTo>
                      <a:lnTo>
                        <a:pt x="669" y="109"/>
                      </a:lnTo>
                      <a:lnTo>
                        <a:pt x="708" y="109"/>
                      </a:lnTo>
                      <a:lnTo>
                        <a:pt x="754" y="140"/>
                      </a:lnTo>
                      <a:lnTo>
                        <a:pt x="805" y="156"/>
                      </a:lnTo>
                      <a:lnTo>
                        <a:pt x="848" y="137"/>
                      </a:lnTo>
                      <a:lnTo>
                        <a:pt x="887" y="215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grpSp>
              <p:nvGrpSpPr>
                <p:cNvPr id="1054" name="Group 30"/>
                <p:cNvGrpSpPr>
                  <a:grpSpLocks/>
                </p:cNvGrpSpPr>
                <p:nvPr/>
              </p:nvGrpSpPr>
              <p:grpSpPr bwMode="auto">
                <a:xfrm>
                  <a:off x="2395" y="617"/>
                  <a:ext cx="526" cy="620"/>
                  <a:chOff x="2395" y="617"/>
                  <a:chExt cx="526" cy="620"/>
                </a:xfrm>
              </p:grpSpPr>
              <p:grpSp>
                <p:nvGrpSpPr>
                  <p:cNvPr id="1052" name="Group 28"/>
                  <p:cNvGrpSpPr>
                    <a:grpSpLocks/>
                  </p:cNvGrpSpPr>
                  <p:nvPr/>
                </p:nvGrpSpPr>
                <p:grpSpPr bwMode="auto">
                  <a:xfrm>
                    <a:off x="2603" y="1004"/>
                    <a:ext cx="165" cy="233"/>
                    <a:chOff x="2603" y="1004"/>
                    <a:chExt cx="165" cy="233"/>
                  </a:xfrm>
                </p:grpSpPr>
                <p:sp>
                  <p:nvSpPr>
                    <p:cNvPr id="1050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2603" y="1089"/>
                      <a:ext cx="78" cy="132"/>
                    </a:xfrm>
                    <a:custGeom>
                      <a:avLst/>
                      <a:gdLst>
                        <a:gd name="T0" fmla="*/ 18 w 78"/>
                        <a:gd name="T1" fmla="*/ 40 h 132"/>
                        <a:gd name="T2" fmla="*/ 24 w 78"/>
                        <a:gd name="T3" fmla="*/ 26 h 132"/>
                        <a:gd name="T4" fmla="*/ 38 w 78"/>
                        <a:gd name="T5" fmla="*/ 26 h 132"/>
                        <a:gd name="T6" fmla="*/ 57 w 78"/>
                        <a:gd name="T7" fmla="*/ 0 h 132"/>
                        <a:gd name="T8" fmla="*/ 63 w 78"/>
                        <a:gd name="T9" fmla="*/ 17 h 132"/>
                        <a:gd name="T10" fmla="*/ 73 w 78"/>
                        <a:gd name="T11" fmla="*/ 17 h 132"/>
                        <a:gd name="T12" fmla="*/ 77 w 78"/>
                        <a:gd name="T13" fmla="*/ 26 h 132"/>
                        <a:gd name="T14" fmla="*/ 71 w 78"/>
                        <a:gd name="T15" fmla="*/ 40 h 132"/>
                        <a:gd name="T16" fmla="*/ 63 w 78"/>
                        <a:gd name="T17" fmla="*/ 46 h 132"/>
                        <a:gd name="T18" fmla="*/ 63 w 78"/>
                        <a:gd name="T19" fmla="*/ 57 h 132"/>
                        <a:gd name="T20" fmla="*/ 61 w 78"/>
                        <a:gd name="T21" fmla="*/ 63 h 132"/>
                        <a:gd name="T22" fmla="*/ 59 w 78"/>
                        <a:gd name="T23" fmla="*/ 71 h 132"/>
                        <a:gd name="T24" fmla="*/ 63 w 78"/>
                        <a:gd name="T25" fmla="*/ 83 h 132"/>
                        <a:gd name="T26" fmla="*/ 57 w 78"/>
                        <a:gd name="T27" fmla="*/ 94 h 132"/>
                        <a:gd name="T28" fmla="*/ 51 w 78"/>
                        <a:gd name="T29" fmla="*/ 100 h 132"/>
                        <a:gd name="T30" fmla="*/ 45 w 78"/>
                        <a:gd name="T31" fmla="*/ 100 h 132"/>
                        <a:gd name="T32" fmla="*/ 43 w 78"/>
                        <a:gd name="T33" fmla="*/ 103 h 132"/>
                        <a:gd name="T34" fmla="*/ 41 w 78"/>
                        <a:gd name="T35" fmla="*/ 111 h 132"/>
                        <a:gd name="T36" fmla="*/ 32 w 78"/>
                        <a:gd name="T37" fmla="*/ 114 h 132"/>
                        <a:gd name="T38" fmla="*/ 30 w 78"/>
                        <a:gd name="T39" fmla="*/ 111 h 132"/>
                        <a:gd name="T40" fmla="*/ 22 w 78"/>
                        <a:gd name="T41" fmla="*/ 120 h 132"/>
                        <a:gd name="T42" fmla="*/ 20 w 78"/>
                        <a:gd name="T43" fmla="*/ 122 h 132"/>
                        <a:gd name="T44" fmla="*/ 10 w 78"/>
                        <a:gd name="T45" fmla="*/ 131 h 132"/>
                        <a:gd name="T46" fmla="*/ 6 w 78"/>
                        <a:gd name="T47" fmla="*/ 131 h 132"/>
                        <a:gd name="T48" fmla="*/ 4 w 78"/>
                        <a:gd name="T49" fmla="*/ 125 h 132"/>
                        <a:gd name="T50" fmla="*/ 2 w 78"/>
                        <a:gd name="T51" fmla="*/ 111 h 132"/>
                        <a:gd name="T52" fmla="*/ 0 w 78"/>
                        <a:gd name="T53" fmla="*/ 108 h 132"/>
                        <a:gd name="T54" fmla="*/ 0 w 78"/>
                        <a:gd name="T55" fmla="*/ 97 h 132"/>
                        <a:gd name="T56" fmla="*/ 6 w 78"/>
                        <a:gd name="T57" fmla="*/ 91 h 132"/>
                        <a:gd name="T58" fmla="*/ 12 w 78"/>
                        <a:gd name="T59" fmla="*/ 85 h 132"/>
                        <a:gd name="T60" fmla="*/ 16 w 78"/>
                        <a:gd name="T61" fmla="*/ 74 h 132"/>
                        <a:gd name="T62" fmla="*/ 22 w 78"/>
                        <a:gd name="T63" fmla="*/ 74 h 132"/>
                        <a:gd name="T64" fmla="*/ 26 w 78"/>
                        <a:gd name="T65" fmla="*/ 77 h 132"/>
                        <a:gd name="T66" fmla="*/ 32 w 78"/>
                        <a:gd name="T67" fmla="*/ 74 h 132"/>
                        <a:gd name="T68" fmla="*/ 26 w 78"/>
                        <a:gd name="T69" fmla="*/ 71 h 132"/>
                        <a:gd name="T70" fmla="*/ 18 w 78"/>
                        <a:gd name="T71" fmla="*/ 4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78" h="132">
                          <a:moveTo>
                            <a:pt x="18" y="40"/>
                          </a:moveTo>
                          <a:lnTo>
                            <a:pt x="24" y="26"/>
                          </a:lnTo>
                          <a:lnTo>
                            <a:pt x="38" y="26"/>
                          </a:lnTo>
                          <a:lnTo>
                            <a:pt x="57" y="0"/>
                          </a:lnTo>
                          <a:lnTo>
                            <a:pt x="63" y="17"/>
                          </a:lnTo>
                          <a:lnTo>
                            <a:pt x="73" y="17"/>
                          </a:lnTo>
                          <a:lnTo>
                            <a:pt x="77" y="26"/>
                          </a:lnTo>
                          <a:lnTo>
                            <a:pt x="71" y="40"/>
                          </a:lnTo>
                          <a:lnTo>
                            <a:pt x="63" y="46"/>
                          </a:lnTo>
                          <a:lnTo>
                            <a:pt x="63" y="57"/>
                          </a:lnTo>
                          <a:lnTo>
                            <a:pt x="61" y="63"/>
                          </a:lnTo>
                          <a:lnTo>
                            <a:pt x="59" y="71"/>
                          </a:lnTo>
                          <a:lnTo>
                            <a:pt x="63" y="83"/>
                          </a:lnTo>
                          <a:lnTo>
                            <a:pt x="57" y="94"/>
                          </a:lnTo>
                          <a:lnTo>
                            <a:pt x="51" y="100"/>
                          </a:lnTo>
                          <a:lnTo>
                            <a:pt x="45" y="100"/>
                          </a:lnTo>
                          <a:lnTo>
                            <a:pt x="43" y="103"/>
                          </a:lnTo>
                          <a:lnTo>
                            <a:pt x="41" y="111"/>
                          </a:lnTo>
                          <a:lnTo>
                            <a:pt x="32" y="114"/>
                          </a:lnTo>
                          <a:lnTo>
                            <a:pt x="30" y="111"/>
                          </a:lnTo>
                          <a:lnTo>
                            <a:pt x="22" y="120"/>
                          </a:lnTo>
                          <a:lnTo>
                            <a:pt x="20" y="122"/>
                          </a:lnTo>
                          <a:lnTo>
                            <a:pt x="10" y="131"/>
                          </a:lnTo>
                          <a:lnTo>
                            <a:pt x="6" y="131"/>
                          </a:lnTo>
                          <a:lnTo>
                            <a:pt x="4" y="125"/>
                          </a:lnTo>
                          <a:lnTo>
                            <a:pt x="2" y="111"/>
                          </a:lnTo>
                          <a:lnTo>
                            <a:pt x="0" y="108"/>
                          </a:lnTo>
                          <a:lnTo>
                            <a:pt x="0" y="97"/>
                          </a:lnTo>
                          <a:lnTo>
                            <a:pt x="6" y="91"/>
                          </a:lnTo>
                          <a:lnTo>
                            <a:pt x="12" y="85"/>
                          </a:lnTo>
                          <a:lnTo>
                            <a:pt x="16" y="74"/>
                          </a:lnTo>
                          <a:lnTo>
                            <a:pt x="22" y="74"/>
                          </a:lnTo>
                          <a:lnTo>
                            <a:pt x="26" y="77"/>
                          </a:lnTo>
                          <a:lnTo>
                            <a:pt x="32" y="74"/>
                          </a:lnTo>
                          <a:lnTo>
                            <a:pt x="26" y="71"/>
                          </a:lnTo>
                          <a:lnTo>
                            <a:pt x="18" y="40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 cap="rnd">
                          <a:solidFill>
                            <a:schemeClr val="tx1"/>
                          </a:solidFill>
                          <a:round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pPr eaLnBrk="0" latinLnBrk="0" hangingPunct="0"/>
                      <a:endParaRPr kumimoji="0" lang="ko-KR" altLang="en-US" sz="2400" smtClean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</a:endParaRPr>
                    </a:p>
                  </p:txBody>
                </p:sp>
                <p:sp>
                  <p:nvSpPr>
                    <p:cNvPr id="1051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2674" y="1004"/>
                      <a:ext cx="94" cy="233"/>
                    </a:xfrm>
                    <a:custGeom>
                      <a:avLst/>
                      <a:gdLst>
                        <a:gd name="T0" fmla="*/ 36 w 94"/>
                        <a:gd name="T1" fmla="*/ 25 h 233"/>
                        <a:gd name="T2" fmla="*/ 57 w 94"/>
                        <a:gd name="T3" fmla="*/ 22 h 233"/>
                        <a:gd name="T4" fmla="*/ 65 w 94"/>
                        <a:gd name="T5" fmla="*/ 14 h 233"/>
                        <a:gd name="T6" fmla="*/ 75 w 94"/>
                        <a:gd name="T7" fmla="*/ 6 h 233"/>
                        <a:gd name="T8" fmla="*/ 93 w 94"/>
                        <a:gd name="T9" fmla="*/ 3 h 233"/>
                        <a:gd name="T10" fmla="*/ 87 w 94"/>
                        <a:gd name="T11" fmla="*/ 22 h 233"/>
                        <a:gd name="T12" fmla="*/ 79 w 94"/>
                        <a:gd name="T13" fmla="*/ 28 h 233"/>
                        <a:gd name="T14" fmla="*/ 67 w 94"/>
                        <a:gd name="T15" fmla="*/ 45 h 233"/>
                        <a:gd name="T16" fmla="*/ 81 w 94"/>
                        <a:gd name="T17" fmla="*/ 45 h 233"/>
                        <a:gd name="T18" fmla="*/ 93 w 94"/>
                        <a:gd name="T19" fmla="*/ 45 h 233"/>
                        <a:gd name="T20" fmla="*/ 85 w 94"/>
                        <a:gd name="T21" fmla="*/ 64 h 233"/>
                        <a:gd name="T22" fmla="*/ 71 w 94"/>
                        <a:gd name="T23" fmla="*/ 73 h 233"/>
                        <a:gd name="T24" fmla="*/ 69 w 94"/>
                        <a:gd name="T25" fmla="*/ 87 h 233"/>
                        <a:gd name="T26" fmla="*/ 81 w 94"/>
                        <a:gd name="T27" fmla="*/ 106 h 233"/>
                        <a:gd name="T28" fmla="*/ 87 w 94"/>
                        <a:gd name="T29" fmla="*/ 126 h 233"/>
                        <a:gd name="T30" fmla="*/ 93 w 94"/>
                        <a:gd name="T31" fmla="*/ 151 h 233"/>
                        <a:gd name="T32" fmla="*/ 89 w 94"/>
                        <a:gd name="T33" fmla="*/ 182 h 233"/>
                        <a:gd name="T34" fmla="*/ 79 w 94"/>
                        <a:gd name="T35" fmla="*/ 196 h 233"/>
                        <a:gd name="T36" fmla="*/ 87 w 94"/>
                        <a:gd name="T37" fmla="*/ 218 h 233"/>
                        <a:gd name="T38" fmla="*/ 65 w 94"/>
                        <a:gd name="T39" fmla="*/ 218 h 233"/>
                        <a:gd name="T40" fmla="*/ 53 w 94"/>
                        <a:gd name="T41" fmla="*/ 215 h 233"/>
                        <a:gd name="T42" fmla="*/ 36 w 94"/>
                        <a:gd name="T43" fmla="*/ 224 h 233"/>
                        <a:gd name="T44" fmla="*/ 26 w 94"/>
                        <a:gd name="T45" fmla="*/ 226 h 233"/>
                        <a:gd name="T46" fmla="*/ 14 w 94"/>
                        <a:gd name="T47" fmla="*/ 229 h 233"/>
                        <a:gd name="T48" fmla="*/ 4 w 94"/>
                        <a:gd name="T49" fmla="*/ 221 h 233"/>
                        <a:gd name="T50" fmla="*/ 0 w 94"/>
                        <a:gd name="T51" fmla="*/ 207 h 233"/>
                        <a:gd name="T52" fmla="*/ 10 w 94"/>
                        <a:gd name="T53" fmla="*/ 193 h 233"/>
                        <a:gd name="T54" fmla="*/ 24 w 94"/>
                        <a:gd name="T55" fmla="*/ 190 h 233"/>
                        <a:gd name="T56" fmla="*/ 16 w 94"/>
                        <a:gd name="T57" fmla="*/ 182 h 233"/>
                        <a:gd name="T58" fmla="*/ 16 w 94"/>
                        <a:gd name="T59" fmla="*/ 168 h 233"/>
                        <a:gd name="T60" fmla="*/ 28 w 94"/>
                        <a:gd name="T61" fmla="*/ 159 h 233"/>
                        <a:gd name="T62" fmla="*/ 38 w 94"/>
                        <a:gd name="T63" fmla="*/ 157 h 233"/>
                        <a:gd name="T64" fmla="*/ 44 w 94"/>
                        <a:gd name="T65" fmla="*/ 131 h 233"/>
                        <a:gd name="T66" fmla="*/ 49 w 94"/>
                        <a:gd name="T67" fmla="*/ 106 h 233"/>
                        <a:gd name="T68" fmla="*/ 40 w 94"/>
                        <a:gd name="T69" fmla="*/ 89 h 233"/>
                        <a:gd name="T70" fmla="*/ 20 w 94"/>
                        <a:gd name="T71" fmla="*/ 84 h 233"/>
                        <a:gd name="T72" fmla="*/ 30 w 94"/>
                        <a:gd name="T73" fmla="*/ 34 h 2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94" h="233">
                          <a:moveTo>
                            <a:pt x="30" y="34"/>
                          </a:moveTo>
                          <a:lnTo>
                            <a:pt x="36" y="25"/>
                          </a:lnTo>
                          <a:lnTo>
                            <a:pt x="53" y="28"/>
                          </a:lnTo>
                          <a:lnTo>
                            <a:pt x="57" y="22"/>
                          </a:lnTo>
                          <a:lnTo>
                            <a:pt x="61" y="14"/>
                          </a:lnTo>
                          <a:lnTo>
                            <a:pt x="65" y="14"/>
                          </a:lnTo>
                          <a:lnTo>
                            <a:pt x="69" y="11"/>
                          </a:lnTo>
                          <a:lnTo>
                            <a:pt x="75" y="6"/>
                          </a:lnTo>
                          <a:lnTo>
                            <a:pt x="83" y="0"/>
                          </a:lnTo>
                          <a:lnTo>
                            <a:pt x="93" y="3"/>
                          </a:lnTo>
                          <a:lnTo>
                            <a:pt x="91" y="14"/>
                          </a:lnTo>
                          <a:lnTo>
                            <a:pt x="87" y="22"/>
                          </a:lnTo>
                          <a:lnTo>
                            <a:pt x="83" y="25"/>
                          </a:lnTo>
                          <a:lnTo>
                            <a:pt x="79" y="28"/>
                          </a:lnTo>
                          <a:lnTo>
                            <a:pt x="67" y="34"/>
                          </a:lnTo>
                          <a:lnTo>
                            <a:pt x="67" y="45"/>
                          </a:lnTo>
                          <a:lnTo>
                            <a:pt x="69" y="50"/>
                          </a:lnTo>
                          <a:lnTo>
                            <a:pt x="81" y="45"/>
                          </a:lnTo>
                          <a:lnTo>
                            <a:pt x="91" y="39"/>
                          </a:lnTo>
                          <a:lnTo>
                            <a:pt x="93" y="45"/>
                          </a:lnTo>
                          <a:lnTo>
                            <a:pt x="93" y="61"/>
                          </a:lnTo>
                          <a:lnTo>
                            <a:pt x="85" y="64"/>
                          </a:lnTo>
                          <a:lnTo>
                            <a:pt x="77" y="64"/>
                          </a:lnTo>
                          <a:lnTo>
                            <a:pt x="71" y="73"/>
                          </a:lnTo>
                          <a:lnTo>
                            <a:pt x="69" y="78"/>
                          </a:lnTo>
                          <a:lnTo>
                            <a:pt x="69" y="87"/>
                          </a:lnTo>
                          <a:lnTo>
                            <a:pt x="75" y="98"/>
                          </a:lnTo>
                          <a:lnTo>
                            <a:pt x="81" y="106"/>
                          </a:lnTo>
                          <a:lnTo>
                            <a:pt x="85" y="115"/>
                          </a:lnTo>
                          <a:lnTo>
                            <a:pt x="87" y="126"/>
                          </a:lnTo>
                          <a:lnTo>
                            <a:pt x="89" y="137"/>
                          </a:lnTo>
                          <a:lnTo>
                            <a:pt x="93" y="151"/>
                          </a:lnTo>
                          <a:lnTo>
                            <a:pt x="93" y="171"/>
                          </a:lnTo>
                          <a:lnTo>
                            <a:pt x="89" y="182"/>
                          </a:lnTo>
                          <a:lnTo>
                            <a:pt x="81" y="190"/>
                          </a:lnTo>
                          <a:lnTo>
                            <a:pt x="79" y="196"/>
                          </a:lnTo>
                          <a:lnTo>
                            <a:pt x="83" y="207"/>
                          </a:lnTo>
                          <a:lnTo>
                            <a:pt x="87" y="218"/>
                          </a:lnTo>
                          <a:lnTo>
                            <a:pt x="75" y="218"/>
                          </a:lnTo>
                          <a:lnTo>
                            <a:pt x="65" y="218"/>
                          </a:lnTo>
                          <a:lnTo>
                            <a:pt x="61" y="215"/>
                          </a:lnTo>
                          <a:lnTo>
                            <a:pt x="53" y="215"/>
                          </a:lnTo>
                          <a:lnTo>
                            <a:pt x="44" y="218"/>
                          </a:lnTo>
                          <a:lnTo>
                            <a:pt x="36" y="224"/>
                          </a:lnTo>
                          <a:lnTo>
                            <a:pt x="30" y="224"/>
                          </a:lnTo>
                          <a:lnTo>
                            <a:pt x="26" y="226"/>
                          </a:lnTo>
                          <a:lnTo>
                            <a:pt x="16" y="232"/>
                          </a:lnTo>
                          <a:lnTo>
                            <a:pt x="14" y="229"/>
                          </a:lnTo>
                          <a:lnTo>
                            <a:pt x="10" y="224"/>
                          </a:lnTo>
                          <a:lnTo>
                            <a:pt x="4" y="221"/>
                          </a:lnTo>
                          <a:lnTo>
                            <a:pt x="0" y="218"/>
                          </a:lnTo>
                          <a:lnTo>
                            <a:pt x="0" y="207"/>
                          </a:lnTo>
                          <a:lnTo>
                            <a:pt x="4" y="193"/>
                          </a:lnTo>
                          <a:lnTo>
                            <a:pt x="10" y="193"/>
                          </a:lnTo>
                          <a:lnTo>
                            <a:pt x="16" y="190"/>
                          </a:lnTo>
                          <a:lnTo>
                            <a:pt x="24" y="190"/>
                          </a:lnTo>
                          <a:lnTo>
                            <a:pt x="24" y="187"/>
                          </a:lnTo>
                          <a:lnTo>
                            <a:pt x="16" y="182"/>
                          </a:lnTo>
                          <a:lnTo>
                            <a:pt x="16" y="173"/>
                          </a:lnTo>
                          <a:lnTo>
                            <a:pt x="16" y="168"/>
                          </a:lnTo>
                          <a:lnTo>
                            <a:pt x="24" y="162"/>
                          </a:lnTo>
                          <a:lnTo>
                            <a:pt x="28" y="159"/>
                          </a:lnTo>
                          <a:lnTo>
                            <a:pt x="32" y="157"/>
                          </a:lnTo>
                          <a:lnTo>
                            <a:pt x="38" y="157"/>
                          </a:lnTo>
                          <a:lnTo>
                            <a:pt x="42" y="154"/>
                          </a:lnTo>
                          <a:lnTo>
                            <a:pt x="44" y="131"/>
                          </a:lnTo>
                          <a:lnTo>
                            <a:pt x="49" y="115"/>
                          </a:lnTo>
                          <a:lnTo>
                            <a:pt x="49" y="106"/>
                          </a:lnTo>
                          <a:lnTo>
                            <a:pt x="36" y="103"/>
                          </a:lnTo>
                          <a:lnTo>
                            <a:pt x="40" y="89"/>
                          </a:lnTo>
                          <a:lnTo>
                            <a:pt x="30" y="81"/>
                          </a:lnTo>
                          <a:lnTo>
                            <a:pt x="20" y="84"/>
                          </a:lnTo>
                          <a:lnTo>
                            <a:pt x="32" y="64"/>
                          </a:lnTo>
                          <a:lnTo>
                            <a:pt x="30" y="34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 cap="rnd">
                          <a:solidFill>
                            <a:schemeClr val="tx1"/>
                          </a:solidFill>
                          <a:round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pPr eaLnBrk="0" latinLnBrk="0" hangingPunct="0"/>
                      <a:endParaRPr kumimoji="0" lang="ko-KR" altLang="en-US" sz="2400" smtClean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</a:endParaRPr>
                    </a:p>
                  </p:txBody>
                </p:sp>
              </p:grpSp>
              <p:sp>
                <p:nvSpPr>
                  <p:cNvPr id="1053" name="Freeform 29"/>
                  <p:cNvSpPr>
                    <a:spLocks/>
                  </p:cNvSpPr>
                  <p:nvPr/>
                </p:nvSpPr>
                <p:spPr bwMode="auto">
                  <a:xfrm>
                    <a:off x="2395" y="617"/>
                    <a:ext cx="526" cy="390"/>
                  </a:xfrm>
                  <a:custGeom>
                    <a:avLst/>
                    <a:gdLst>
                      <a:gd name="T0" fmla="*/ 33 w 526"/>
                      <a:gd name="T1" fmla="*/ 381 h 390"/>
                      <a:gd name="T2" fmla="*/ 53 w 526"/>
                      <a:gd name="T3" fmla="*/ 353 h 390"/>
                      <a:gd name="T4" fmla="*/ 64 w 526"/>
                      <a:gd name="T5" fmla="*/ 344 h 390"/>
                      <a:gd name="T6" fmla="*/ 82 w 526"/>
                      <a:gd name="T7" fmla="*/ 336 h 390"/>
                      <a:gd name="T8" fmla="*/ 95 w 526"/>
                      <a:gd name="T9" fmla="*/ 336 h 390"/>
                      <a:gd name="T10" fmla="*/ 107 w 526"/>
                      <a:gd name="T11" fmla="*/ 325 h 390"/>
                      <a:gd name="T12" fmla="*/ 121 w 526"/>
                      <a:gd name="T13" fmla="*/ 308 h 390"/>
                      <a:gd name="T14" fmla="*/ 134 w 526"/>
                      <a:gd name="T15" fmla="*/ 299 h 390"/>
                      <a:gd name="T16" fmla="*/ 148 w 526"/>
                      <a:gd name="T17" fmla="*/ 291 h 390"/>
                      <a:gd name="T18" fmla="*/ 163 w 526"/>
                      <a:gd name="T19" fmla="*/ 280 h 390"/>
                      <a:gd name="T20" fmla="*/ 183 w 526"/>
                      <a:gd name="T21" fmla="*/ 274 h 390"/>
                      <a:gd name="T22" fmla="*/ 214 w 526"/>
                      <a:gd name="T23" fmla="*/ 280 h 390"/>
                      <a:gd name="T24" fmla="*/ 239 w 526"/>
                      <a:gd name="T25" fmla="*/ 269 h 390"/>
                      <a:gd name="T26" fmla="*/ 253 w 526"/>
                      <a:gd name="T27" fmla="*/ 241 h 390"/>
                      <a:gd name="T28" fmla="*/ 270 w 526"/>
                      <a:gd name="T29" fmla="*/ 218 h 390"/>
                      <a:gd name="T30" fmla="*/ 282 w 526"/>
                      <a:gd name="T31" fmla="*/ 199 h 390"/>
                      <a:gd name="T32" fmla="*/ 292 w 526"/>
                      <a:gd name="T33" fmla="*/ 182 h 390"/>
                      <a:gd name="T34" fmla="*/ 315 w 526"/>
                      <a:gd name="T35" fmla="*/ 165 h 390"/>
                      <a:gd name="T36" fmla="*/ 311 w 526"/>
                      <a:gd name="T37" fmla="*/ 188 h 390"/>
                      <a:gd name="T38" fmla="*/ 329 w 526"/>
                      <a:gd name="T39" fmla="*/ 199 h 390"/>
                      <a:gd name="T40" fmla="*/ 344 w 526"/>
                      <a:gd name="T41" fmla="*/ 190 h 390"/>
                      <a:gd name="T42" fmla="*/ 350 w 526"/>
                      <a:gd name="T43" fmla="*/ 174 h 390"/>
                      <a:gd name="T44" fmla="*/ 356 w 526"/>
                      <a:gd name="T45" fmla="*/ 157 h 390"/>
                      <a:gd name="T46" fmla="*/ 366 w 526"/>
                      <a:gd name="T47" fmla="*/ 140 h 390"/>
                      <a:gd name="T48" fmla="*/ 395 w 526"/>
                      <a:gd name="T49" fmla="*/ 140 h 390"/>
                      <a:gd name="T50" fmla="*/ 424 w 526"/>
                      <a:gd name="T51" fmla="*/ 112 h 390"/>
                      <a:gd name="T52" fmla="*/ 453 w 526"/>
                      <a:gd name="T53" fmla="*/ 92 h 390"/>
                      <a:gd name="T54" fmla="*/ 484 w 526"/>
                      <a:gd name="T55" fmla="*/ 45 h 390"/>
                      <a:gd name="T56" fmla="*/ 511 w 526"/>
                      <a:gd name="T57" fmla="*/ 22 h 390"/>
                      <a:gd name="T58" fmla="*/ 502 w 526"/>
                      <a:gd name="T59" fmla="*/ 0 h 390"/>
                      <a:gd name="T60" fmla="*/ 455 w 526"/>
                      <a:gd name="T61" fmla="*/ 14 h 390"/>
                      <a:gd name="T62" fmla="*/ 424 w 526"/>
                      <a:gd name="T63" fmla="*/ 28 h 390"/>
                      <a:gd name="T64" fmla="*/ 391 w 526"/>
                      <a:gd name="T65" fmla="*/ 36 h 390"/>
                      <a:gd name="T66" fmla="*/ 350 w 526"/>
                      <a:gd name="T67" fmla="*/ 59 h 390"/>
                      <a:gd name="T68" fmla="*/ 315 w 526"/>
                      <a:gd name="T69" fmla="*/ 73 h 390"/>
                      <a:gd name="T70" fmla="*/ 278 w 526"/>
                      <a:gd name="T71" fmla="*/ 92 h 390"/>
                      <a:gd name="T72" fmla="*/ 253 w 526"/>
                      <a:gd name="T73" fmla="*/ 120 h 390"/>
                      <a:gd name="T74" fmla="*/ 231 w 526"/>
                      <a:gd name="T75" fmla="*/ 140 h 390"/>
                      <a:gd name="T76" fmla="*/ 189 w 526"/>
                      <a:gd name="T77" fmla="*/ 174 h 390"/>
                      <a:gd name="T78" fmla="*/ 146 w 526"/>
                      <a:gd name="T79" fmla="*/ 215 h 390"/>
                      <a:gd name="T80" fmla="*/ 109 w 526"/>
                      <a:gd name="T81" fmla="*/ 246 h 390"/>
                      <a:gd name="T82" fmla="*/ 80 w 526"/>
                      <a:gd name="T83" fmla="*/ 288 h 390"/>
                      <a:gd name="T84" fmla="*/ 49 w 526"/>
                      <a:gd name="T85" fmla="*/ 316 h 390"/>
                      <a:gd name="T86" fmla="*/ 0 w 526"/>
                      <a:gd name="T87" fmla="*/ 389 h 3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526" h="390">
                        <a:moveTo>
                          <a:pt x="0" y="389"/>
                        </a:moveTo>
                        <a:lnTo>
                          <a:pt x="33" y="381"/>
                        </a:lnTo>
                        <a:lnTo>
                          <a:pt x="45" y="364"/>
                        </a:lnTo>
                        <a:lnTo>
                          <a:pt x="53" y="353"/>
                        </a:lnTo>
                        <a:lnTo>
                          <a:pt x="56" y="344"/>
                        </a:lnTo>
                        <a:lnTo>
                          <a:pt x="64" y="344"/>
                        </a:lnTo>
                        <a:lnTo>
                          <a:pt x="72" y="336"/>
                        </a:lnTo>
                        <a:lnTo>
                          <a:pt x="82" y="336"/>
                        </a:lnTo>
                        <a:lnTo>
                          <a:pt x="88" y="336"/>
                        </a:lnTo>
                        <a:lnTo>
                          <a:pt x="95" y="336"/>
                        </a:lnTo>
                        <a:lnTo>
                          <a:pt x="99" y="336"/>
                        </a:lnTo>
                        <a:lnTo>
                          <a:pt x="107" y="325"/>
                        </a:lnTo>
                        <a:lnTo>
                          <a:pt x="111" y="316"/>
                        </a:lnTo>
                        <a:lnTo>
                          <a:pt x="121" y="308"/>
                        </a:lnTo>
                        <a:lnTo>
                          <a:pt x="128" y="305"/>
                        </a:lnTo>
                        <a:lnTo>
                          <a:pt x="134" y="299"/>
                        </a:lnTo>
                        <a:lnTo>
                          <a:pt x="142" y="297"/>
                        </a:lnTo>
                        <a:lnTo>
                          <a:pt x="148" y="291"/>
                        </a:lnTo>
                        <a:lnTo>
                          <a:pt x="156" y="285"/>
                        </a:lnTo>
                        <a:lnTo>
                          <a:pt x="163" y="280"/>
                        </a:lnTo>
                        <a:lnTo>
                          <a:pt x="173" y="271"/>
                        </a:lnTo>
                        <a:lnTo>
                          <a:pt x="183" y="274"/>
                        </a:lnTo>
                        <a:lnTo>
                          <a:pt x="198" y="280"/>
                        </a:lnTo>
                        <a:lnTo>
                          <a:pt x="214" y="280"/>
                        </a:lnTo>
                        <a:lnTo>
                          <a:pt x="231" y="271"/>
                        </a:lnTo>
                        <a:lnTo>
                          <a:pt x="239" y="269"/>
                        </a:lnTo>
                        <a:lnTo>
                          <a:pt x="245" y="252"/>
                        </a:lnTo>
                        <a:lnTo>
                          <a:pt x="253" y="241"/>
                        </a:lnTo>
                        <a:lnTo>
                          <a:pt x="266" y="227"/>
                        </a:lnTo>
                        <a:lnTo>
                          <a:pt x="270" y="218"/>
                        </a:lnTo>
                        <a:lnTo>
                          <a:pt x="270" y="207"/>
                        </a:lnTo>
                        <a:lnTo>
                          <a:pt x="282" y="199"/>
                        </a:lnTo>
                        <a:lnTo>
                          <a:pt x="288" y="190"/>
                        </a:lnTo>
                        <a:lnTo>
                          <a:pt x="292" y="182"/>
                        </a:lnTo>
                        <a:lnTo>
                          <a:pt x="296" y="182"/>
                        </a:lnTo>
                        <a:lnTo>
                          <a:pt x="315" y="165"/>
                        </a:lnTo>
                        <a:lnTo>
                          <a:pt x="315" y="182"/>
                        </a:lnTo>
                        <a:lnTo>
                          <a:pt x="311" y="188"/>
                        </a:lnTo>
                        <a:lnTo>
                          <a:pt x="315" y="196"/>
                        </a:lnTo>
                        <a:lnTo>
                          <a:pt x="329" y="199"/>
                        </a:lnTo>
                        <a:lnTo>
                          <a:pt x="336" y="199"/>
                        </a:lnTo>
                        <a:lnTo>
                          <a:pt x="344" y="190"/>
                        </a:lnTo>
                        <a:lnTo>
                          <a:pt x="350" y="182"/>
                        </a:lnTo>
                        <a:lnTo>
                          <a:pt x="350" y="174"/>
                        </a:lnTo>
                        <a:lnTo>
                          <a:pt x="356" y="165"/>
                        </a:lnTo>
                        <a:lnTo>
                          <a:pt x="356" y="157"/>
                        </a:lnTo>
                        <a:lnTo>
                          <a:pt x="362" y="146"/>
                        </a:lnTo>
                        <a:lnTo>
                          <a:pt x="366" y="140"/>
                        </a:lnTo>
                        <a:lnTo>
                          <a:pt x="375" y="140"/>
                        </a:lnTo>
                        <a:lnTo>
                          <a:pt x="395" y="140"/>
                        </a:lnTo>
                        <a:lnTo>
                          <a:pt x="410" y="129"/>
                        </a:lnTo>
                        <a:lnTo>
                          <a:pt x="424" y="112"/>
                        </a:lnTo>
                        <a:lnTo>
                          <a:pt x="439" y="106"/>
                        </a:lnTo>
                        <a:lnTo>
                          <a:pt x="453" y="92"/>
                        </a:lnTo>
                        <a:lnTo>
                          <a:pt x="463" y="70"/>
                        </a:lnTo>
                        <a:lnTo>
                          <a:pt x="484" y="45"/>
                        </a:lnTo>
                        <a:lnTo>
                          <a:pt x="498" y="34"/>
                        </a:lnTo>
                        <a:lnTo>
                          <a:pt x="511" y="22"/>
                        </a:lnTo>
                        <a:lnTo>
                          <a:pt x="525" y="8"/>
                        </a:lnTo>
                        <a:lnTo>
                          <a:pt x="502" y="0"/>
                        </a:lnTo>
                        <a:lnTo>
                          <a:pt x="478" y="0"/>
                        </a:lnTo>
                        <a:lnTo>
                          <a:pt x="455" y="14"/>
                        </a:lnTo>
                        <a:lnTo>
                          <a:pt x="443" y="22"/>
                        </a:lnTo>
                        <a:lnTo>
                          <a:pt x="424" y="28"/>
                        </a:lnTo>
                        <a:lnTo>
                          <a:pt x="403" y="31"/>
                        </a:lnTo>
                        <a:lnTo>
                          <a:pt x="391" y="36"/>
                        </a:lnTo>
                        <a:lnTo>
                          <a:pt x="366" y="50"/>
                        </a:lnTo>
                        <a:lnTo>
                          <a:pt x="350" y="59"/>
                        </a:lnTo>
                        <a:lnTo>
                          <a:pt x="334" y="67"/>
                        </a:lnTo>
                        <a:lnTo>
                          <a:pt x="315" y="73"/>
                        </a:lnTo>
                        <a:lnTo>
                          <a:pt x="296" y="81"/>
                        </a:lnTo>
                        <a:lnTo>
                          <a:pt x="278" y="92"/>
                        </a:lnTo>
                        <a:lnTo>
                          <a:pt x="264" y="106"/>
                        </a:lnTo>
                        <a:lnTo>
                          <a:pt x="253" y="120"/>
                        </a:lnTo>
                        <a:lnTo>
                          <a:pt x="241" y="132"/>
                        </a:lnTo>
                        <a:lnTo>
                          <a:pt x="231" y="140"/>
                        </a:lnTo>
                        <a:lnTo>
                          <a:pt x="210" y="157"/>
                        </a:lnTo>
                        <a:lnTo>
                          <a:pt x="189" y="174"/>
                        </a:lnTo>
                        <a:lnTo>
                          <a:pt x="163" y="190"/>
                        </a:lnTo>
                        <a:lnTo>
                          <a:pt x="146" y="215"/>
                        </a:lnTo>
                        <a:lnTo>
                          <a:pt x="126" y="235"/>
                        </a:lnTo>
                        <a:lnTo>
                          <a:pt x="109" y="246"/>
                        </a:lnTo>
                        <a:lnTo>
                          <a:pt x="91" y="271"/>
                        </a:lnTo>
                        <a:lnTo>
                          <a:pt x="80" y="288"/>
                        </a:lnTo>
                        <a:lnTo>
                          <a:pt x="64" y="305"/>
                        </a:lnTo>
                        <a:lnTo>
                          <a:pt x="49" y="316"/>
                        </a:lnTo>
                        <a:lnTo>
                          <a:pt x="33" y="327"/>
                        </a:lnTo>
                        <a:lnTo>
                          <a:pt x="0" y="389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</p:grpSp>
            <p:sp>
              <p:nvSpPr>
                <p:cNvPr id="1055" name="Freeform 31"/>
                <p:cNvSpPr>
                  <a:spLocks/>
                </p:cNvSpPr>
                <p:nvPr/>
              </p:nvSpPr>
              <p:spPr bwMode="auto">
                <a:xfrm>
                  <a:off x="3324" y="2815"/>
                  <a:ext cx="158" cy="378"/>
                </a:xfrm>
                <a:custGeom>
                  <a:avLst/>
                  <a:gdLst>
                    <a:gd name="T0" fmla="*/ 29 w 158"/>
                    <a:gd name="T1" fmla="*/ 117 h 378"/>
                    <a:gd name="T2" fmla="*/ 26 w 158"/>
                    <a:gd name="T3" fmla="*/ 193 h 378"/>
                    <a:gd name="T4" fmla="*/ 12 w 158"/>
                    <a:gd name="T5" fmla="*/ 240 h 378"/>
                    <a:gd name="T6" fmla="*/ 0 w 158"/>
                    <a:gd name="T7" fmla="*/ 285 h 378"/>
                    <a:gd name="T8" fmla="*/ 0 w 158"/>
                    <a:gd name="T9" fmla="*/ 318 h 378"/>
                    <a:gd name="T10" fmla="*/ 4 w 158"/>
                    <a:gd name="T11" fmla="*/ 346 h 378"/>
                    <a:gd name="T12" fmla="*/ 18 w 158"/>
                    <a:gd name="T13" fmla="*/ 371 h 378"/>
                    <a:gd name="T14" fmla="*/ 29 w 158"/>
                    <a:gd name="T15" fmla="*/ 374 h 378"/>
                    <a:gd name="T16" fmla="*/ 39 w 158"/>
                    <a:gd name="T17" fmla="*/ 374 h 378"/>
                    <a:gd name="T18" fmla="*/ 51 w 158"/>
                    <a:gd name="T19" fmla="*/ 377 h 378"/>
                    <a:gd name="T20" fmla="*/ 57 w 158"/>
                    <a:gd name="T21" fmla="*/ 357 h 378"/>
                    <a:gd name="T22" fmla="*/ 63 w 158"/>
                    <a:gd name="T23" fmla="*/ 307 h 378"/>
                    <a:gd name="T24" fmla="*/ 80 w 158"/>
                    <a:gd name="T25" fmla="*/ 274 h 378"/>
                    <a:gd name="T26" fmla="*/ 84 w 158"/>
                    <a:gd name="T27" fmla="*/ 223 h 378"/>
                    <a:gd name="T28" fmla="*/ 92 w 158"/>
                    <a:gd name="T29" fmla="*/ 204 h 378"/>
                    <a:gd name="T30" fmla="*/ 100 w 158"/>
                    <a:gd name="T31" fmla="*/ 190 h 378"/>
                    <a:gd name="T32" fmla="*/ 106 w 158"/>
                    <a:gd name="T33" fmla="*/ 154 h 378"/>
                    <a:gd name="T34" fmla="*/ 118 w 158"/>
                    <a:gd name="T35" fmla="*/ 131 h 378"/>
                    <a:gd name="T36" fmla="*/ 126 w 158"/>
                    <a:gd name="T37" fmla="*/ 114 h 378"/>
                    <a:gd name="T38" fmla="*/ 133 w 158"/>
                    <a:gd name="T39" fmla="*/ 101 h 378"/>
                    <a:gd name="T40" fmla="*/ 133 w 158"/>
                    <a:gd name="T41" fmla="*/ 92 h 378"/>
                    <a:gd name="T42" fmla="*/ 151 w 158"/>
                    <a:gd name="T43" fmla="*/ 73 h 378"/>
                    <a:gd name="T44" fmla="*/ 153 w 158"/>
                    <a:gd name="T45" fmla="*/ 42 h 378"/>
                    <a:gd name="T46" fmla="*/ 157 w 158"/>
                    <a:gd name="T47" fmla="*/ 22 h 378"/>
                    <a:gd name="T48" fmla="*/ 141 w 158"/>
                    <a:gd name="T49" fmla="*/ 14 h 378"/>
                    <a:gd name="T50" fmla="*/ 131 w 158"/>
                    <a:gd name="T51" fmla="*/ 0 h 378"/>
                    <a:gd name="T52" fmla="*/ 118 w 158"/>
                    <a:gd name="T53" fmla="*/ 14 h 378"/>
                    <a:gd name="T54" fmla="*/ 106 w 158"/>
                    <a:gd name="T55" fmla="*/ 47 h 378"/>
                    <a:gd name="T56" fmla="*/ 92 w 158"/>
                    <a:gd name="T57" fmla="*/ 70 h 378"/>
                    <a:gd name="T58" fmla="*/ 80 w 158"/>
                    <a:gd name="T59" fmla="*/ 89 h 378"/>
                    <a:gd name="T60" fmla="*/ 75 w 158"/>
                    <a:gd name="T61" fmla="*/ 89 h 378"/>
                    <a:gd name="T62" fmla="*/ 63 w 158"/>
                    <a:gd name="T63" fmla="*/ 101 h 378"/>
                    <a:gd name="T64" fmla="*/ 57 w 158"/>
                    <a:gd name="T65" fmla="*/ 112 h 378"/>
                    <a:gd name="T66" fmla="*/ 29 w 158"/>
                    <a:gd name="T67" fmla="*/ 117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58" h="378">
                      <a:moveTo>
                        <a:pt x="29" y="117"/>
                      </a:moveTo>
                      <a:lnTo>
                        <a:pt x="26" y="193"/>
                      </a:lnTo>
                      <a:lnTo>
                        <a:pt x="12" y="240"/>
                      </a:lnTo>
                      <a:lnTo>
                        <a:pt x="0" y="285"/>
                      </a:lnTo>
                      <a:lnTo>
                        <a:pt x="0" y="318"/>
                      </a:lnTo>
                      <a:lnTo>
                        <a:pt x="4" y="346"/>
                      </a:lnTo>
                      <a:lnTo>
                        <a:pt x="18" y="371"/>
                      </a:lnTo>
                      <a:lnTo>
                        <a:pt x="29" y="374"/>
                      </a:lnTo>
                      <a:lnTo>
                        <a:pt x="39" y="374"/>
                      </a:lnTo>
                      <a:lnTo>
                        <a:pt x="51" y="377"/>
                      </a:lnTo>
                      <a:lnTo>
                        <a:pt x="57" y="357"/>
                      </a:lnTo>
                      <a:lnTo>
                        <a:pt x="63" y="307"/>
                      </a:lnTo>
                      <a:lnTo>
                        <a:pt x="80" y="274"/>
                      </a:lnTo>
                      <a:lnTo>
                        <a:pt x="84" y="223"/>
                      </a:lnTo>
                      <a:lnTo>
                        <a:pt x="92" y="204"/>
                      </a:lnTo>
                      <a:lnTo>
                        <a:pt x="100" y="190"/>
                      </a:lnTo>
                      <a:lnTo>
                        <a:pt x="106" y="154"/>
                      </a:lnTo>
                      <a:lnTo>
                        <a:pt x="118" y="131"/>
                      </a:lnTo>
                      <a:lnTo>
                        <a:pt x="126" y="114"/>
                      </a:lnTo>
                      <a:lnTo>
                        <a:pt x="133" y="101"/>
                      </a:lnTo>
                      <a:lnTo>
                        <a:pt x="133" y="92"/>
                      </a:lnTo>
                      <a:lnTo>
                        <a:pt x="151" y="73"/>
                      </a:lnTo>
                      <a:lnTo>
                        <a:pt x="153" y="42"/>
                      </a:lnTo>
                      <a:lnTo>
                        <a:pt x="157" y="22"/>
                      </a:lnTo>
                      <a:lnTo>
                        <a:pt x="141" y="14"/>
                      </a:lnTo>
                      <a:lnTo>
                        <a:pt x="131" y="0"/>
                      </a:lnTo>
                      <a:lnTo>
                        <a:pt x="118" y="14"/>
                      </a:lnTo>
                      <a:lnTo>
                        <a:pt x="106" y="47"/>
                      </a:lnTo>
                      <a:lnTo>
                        <a:pt x="92" y="70"/>
                      </a:lnTo>
                      <a:lnTo>
                        <a:pt x="80" y="89"/>
                      </a:lnTo>
                      <a:lnTo>
                        <a:pt x="75" y="89"/>
                      </a:lnTo>
                      <a:lnTo>
                        <a:pt x="63" y="101"/>
                      </a:lnTo>
                      <a:lnTo>
                        <a:pt x="57" y="112"/>
                      </a:lnTo>
                      <a:lnTo>
                        <a:pt x="29" y="117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56" name="Freeform 32"/>
                <p:cNvSpPr>
                  <a:spLocks/>
                </p:cNvSpPr>
                <p:nvPr/>
              </p:nvSpPr>
              <p:spPr bwMode="auto">
                <a:xfrm>
                  <a:off x="2575" y="655"/>
                  <a:ext cx="2126" cy="1789"/>
                </a:xfrm>
                <a:custGeom>
                  <a:avLst/>
                  <a:gdLst>
                    <a:gd name="T0" fmla="*/ 124 w 2126"/>
                    <a:gd name="T1" fmla="*/ 750 h 1789"/>
                    <a:gd name="T2" fmla="*/ 142 w 2126"/>
                    <a:gd name="T3" fmla="*/ 619 h 1789"/>
                    <a:gd name="T4" fmla="*/ 214 w 2126"/>
                    <a:gd name="T5" fmla="*/ 544 h 1789"/>
                    <a:gd name="T6" fmla="*/ 296 w 2126"/>
                    <a:gd name="T7" fmla="*/ 508 h 1789"/>
                    <a:gd name="T8" fmla="*/ 319 w 2126"/>
                    <a:gd name="T9" fmla="*/ 432 h 1789"/>
                    <a:gd name="T10" fmla="*/ 424 w 2126"/>
                    <a:gd name="T11" fmla="*/ 365 h 1789"/>
                    <a:gd name="T12" fmla="*/ 492 w 2126"/>
                    <a:gd name="T13" fmla="*/ 271 h 1789"/>
                    <a:gd name="T14" fmla="*/ 461 w 2126"/>
                    <a:gd name="T15" fmla="*/ 223 h 1789"/>
                    <a:gd name="T16" fmla="*/ 467 w 2126"/>
                    <a:gd name="T17" fmla="*/ 179 h 1789"/>
                    <a:gd name="T18" fmla="*/ 399 w 2126"/>
                    <a:gd name="T19" fmla="*/ 243 h 1789"/>
                    <a:gd name="T20" fmla="*/ 377 w 2126"/>
                    <a:gd name="T21" fmla="*/ 371 h 1789"/>
                    <a:gd name="T22" fmla="*/ 331 w 2126"/>
                    <a:gd name="T23" fmla="*/ 410 h 1789"/>
                    <a:gd name="T24" fmla="*/ 307 w 2126"/>
                    <a:gd name="T25" fmla="*/ 343 h 1789"/>
                    <a:gd name="T26" fmla="*/ 243 w 2126"/>
                    <a:gd name="T27" fmla="*/ 374 h 1789"/>
                    <a:gd name="T28" fmla="*/ 226 w 2126"/>
                    <a:gd name="T29" fmla="*/ 324 h 1789"/>
                    <a:gd name="T30" fmla="*/ 227 w 2126"/>
                    <a:gd name="T31" fmla="*/ 273 h 1789"/>
                    <a:gd name="T32" fmla="*/ 296 w 2126"/>
                    <a:gd name="T33" fmla="*/ 240 h 1789"/>
                    <a:gd name="T34" fmla="*/ 340 w 2126"/>
                    <a:gd name="T35" fmla="*/ 153 h 1789"/>
                    <a:gd name="T36" fmla="*/ 412 w 2126"/>
                    <a:gd name="T37" fmla="*/ 53 h 1789"/>
                    <a:gd name="T38" fmla="*/ 511 w 2126"/>
                    <a:gd name="T39" fmla="*/ 25 h 1789"/>
                    <a:gd name="T40" fmla="*/ 642 w 2126"/>
                    <a:gd name="T41" fmla="*/ 103 h 1789"/>
                    <a:gd name="T42" fmla="*/ 595 w 2126"/>
                    <a:gd name="T43" fmla="*/ 223 h 1789"/>
                    <a:gd name="T44" fmla="*/ 642 w 2126"/>
                    <a:gd name="T45" fmla="*/ 285 h 1789"/>
                    <a:gd name="T46" fmla="*/ 682 w 2126"/>
                    <a:gd name="T47" fmla="*/ 215 h 1789"/>
                    <a:gd name="T48" fmla="*/ 859 w 2126"/>
                    <a:gd name="T49" fmla="*/ 187 h 1789"/>
                    <a:gd name="T50" fmla="*/ 1073 w 2126"/>
                    <a:gd name="T51" fmla="*/ 33 h 1789"/>
                    <a:gd name="T52" fmla="*/ 1406 w 2126"/>
                    <a:gd name="T53" fmla="*/ 103 h 1789"/>
                    <a:gd name="T54" fmla="*/ 2004 w 2126"/>
                    <a:gd name="T55" fmla="*/ 226 h 1789"/>
                    <a:gd name="T56" fmla="*/ 2057 w 2126"/>
                    <a:gd name="T57" fmla="*/ 298 h 1789"/>
                    <a:gd name="T58" fmla="*/ 2076 w 2126"/>
                    <a:gd name="T59" fmla="*/ 541 h 1789"/>
                    <a:gd name="T60" fmla="*/ 1901 w 2126"/>
                    <a:gd name="T61" fmla="*/ 346 h 1789"/>
                    <a:gd name="T62" fmla="*/ 1763 w 2126"/>
                    <a:gd name="T63" fmla="*/ 435 h 1789"/>
                    <a:gd name="T64" fmla="*/ 1954 w 2126"/>
                    <a:gd name="T65" fmla="*/ 775 h 1789"/>
                    <a:gd name="T66" fmla="*/ 1876 w 2126"/>
                    <a:gd name="T67" fmla="*/ 920 h 1789"/>
                    <a:gd name="T68" fmla="*/ 2003 w 2126"/>
                    <a:gd name="T69" fmla="*/ 1252 h 1789"/>
                    <a:gd name="T70" fmla="*/ 1874 w 2126"/>
                    <a:gd name="T71" fmla="*/ 1425 h 1789"/>
                    <a:gd name="T72" fmla="*/ 1841 w 2126"/>
                    <a:gd name="T73" fmla="*/ 1559 h 1789"/>
                    <a:gd name="T74" fmla="*/ 1833 w 2126"/>
                    <a:gd name="T75" fmla="*/ 1690 h 1789"/>
                    <a:gd name="T76" fmla="*/ 1789 w 2126"/>
                    <a:gd name="T77" fmla="*/ 1685 h 1789"/>
                    <a:gd name="T78" fmla="*/ 1658 w 2126"/>
                    <a:gd name="T79" fmla="*/ 1411 h 1789"/>
                    <a:gd name="T80" fmla="*/ 1472 w 2126"/>
                    <a:gd name="T81" fmla="*/ 1403 h 1789"/>
                    <a:gd name="T82" fmla="*/ 1359 w 2126"/>
                    <a:gd name="T83" fmla="*/ 1562 h 1789"/>
                    <a:gd name="T84" fmla="*/ 1128 w 2126"/>
                    <a:gd name="T85" fmla="*/ 1213 h 1789"/>
                    <a:gd name="T86" fmla="*/ 822 w 2126"/>
                    <a:gd name="T87" fmla="*/ 1091 h 1789"/>
                    <a:gd name="T88" fmla="*/ 1054 w 2126"/>
                    <a:gd name="T89" fmla="*/ 1308 h 1789"/>
                    <a:gd name="T90" fmla="*/ 784 w 2126"/>
                    <a:gd name="T91" fmla="*/ 1503 h 1789"/>
                    <a:gd name="T92" fmla="*/ 714 w 2126"/>
                    <a:gd name="T93" fmla="*/ 1319 h 1789"/>
                    <a:gd name="T94" fmla="*/ 601 w 2126"/>
                    <a:gd name="T95" fmla="*/ 1105 h 1789"/>
                    <a:gd name="T96" fmla="*/ 537 w 2126"/>
                    <a:gd name="T97" fmla="*/ 946 h 1789"/>
                    <a:gd name="T98" fmla="*/ 505 w 2126"/>
                    <a:gd name="T99" fmla="*/ 873 h 1789"/>
                    <a:gd name="T100" fmla="*/ 465 w 2126"/>
                    <a:gd name="T101" fmla="*/ 831 h 1789"/>
                    <a:gd name="T102" fmla="*/ 449 w 2126"/>
                    <a:gd name="T103" fmla="*/ 909 h 1789"/>
                    <a:gd name="T104" fmla="*/ 393 w 2126"/>
                    <a:gd name="T105" fmla="*/ 787 h 1789"/>
                    <a:gd name="T106" fmla="*/ 329 w 2126"/>
                    <a:gd name="T107" fmla="*/ 742 h 1789"/>
                    <a:gd name="T108" fmla="*/ 397 w 2126"/>
                    <a:gd name="T109" fmla="*/ 848 h 1789"/>
                    <a:gd name="T110" fmla="*/ 367 w 2126"/>
                    <a:gd name="T111" fmla="*/ 873 h 1789"/>
                    <a:gd name="T112" fmla="*/ 313 w 2126"/>
                    <a:gd name="T113" fmla="*/ 803 h 1789"/>
                    <a:gd name="T114" fmla="*/ 251 w 2126"/>
                    <a:gd name="T115" fmla="*/ 753 h 1789"/>
                    <a:gd name="T116" fmla="*/ 169 w 2126"/>
                    <a:gd name="T117" fmla="*/ 817 h 1789"/>
                    <a:gd name="T118" fmla="*/ 152 w 2126"/>
                    <a:gd name="T119" fmla="*/ 890 h 1789"/>
                    <a:gd name="T120" fmla="*/ 95 w 2126"/>
                    <a:gd name="T121" fmla="*/ 943 h 1789"/>
                    <a:gd name="T122" fmla="*/ 12 w 2126"/>
                    <a:gd name="T123" fmla="*/ 909 h 1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126" h="1789">
                      <a:moveTo>
                        <a:pt x="0" y="803"/>
                      </a:moveTo>
                      <a:lnTo>
                        <a:pt x="19" y="778"/>
                      </a:lnTo>
                      <a:lnTo>
                        <a:pt x="31" y="759"/>
                      </a:lnTo>
                      <a:lnTo>
                        <a:pt x="56" y="759"/>
                      </a:lnTo>
                      <a:lnTo>
                        <a:pt x="84" y="764"/>
                      </a:lnTo>
                      <a:lnTo>
                        <a:pt x="103" y="753"/>
                      </a:lnTo>
                      <a:lnTo>
                        <a:pt x="124" y="750"/>
                      </a:lnTo>
                      <a:lnTo>
                        <a:pt x="126" y="717"/>
                      </a:lnTo>
                      <a:lnTo>
                        <a:pt x="138" y="695"/>
                      </a:lnTo>
                      <a:lnTo>
                        <a:pt x="109" y="669"/>
                      </a:lnTo>
                      <a:lnTo>
                        <a:pt x="105" y="650"/>
                      </a:lnTo>
                      <a:lnTo>
                        <a:pt x="107" y="622"/>
                      </a:lnTo>
                      <a:lnTo>
                        <a:pt x="128" y="622"/>
                      </a:lnTo>
                      <a:lnTo>
                        <a:pt x="142" y="619"/>
                      </a:lnTo>
                      <a:lnTo>
                        <a:pt x="144" y="622"/>
                      </a:lnTo>
                      <a:lnTo>
                        <a:pt x="159" y="605"/>
                      </a:lnTo>
                      <a:lnTo>
                        <a:pt x="175" y="597"/>
                      </a:lnTo>
                      <a:lnTo>
                        <a:pt x="181" y="597"/>
                      </a:lnTo>
                      <a:lnTo>
                        <a:pt x="191" y="580"/>
                      </a:lnTo>
                      <a:lnTo>
                        <a:pt x="202" y="575"/>
                      </a:lnTo>
                      <a:lnTo>
                        <a:pt x="214" y="544"/>
                      </a:lnTo>
                      <a:lnTo>
                        <a:pt x="222" y="552"/>
                      </a:lnTo>
                      <a:lnTo>
                        <a:pt x="237" y="533"/>
                      </a:lnTo>
                      <a:lnTo>
                        <a:pt x="239" y="533"/>
                      </a:lnTo>
                      <a:lnTo>
                        <a:pt x="259" y="510"/>
                      </a:lnTo>
                      <a:lnTo>
                        <a:pt x="270" y="508"/>
                      </a:lnTo>
                      <a:lnTo>
                        <a:pt x="286" y="508"/>
                      </a:lnTo>
                      <a:lnTo>
                        <a:pt x="296" y="508"/>
                      </a:lnTo>
                      <a:lnTo>
                        <a:pt x="288" y="480"/>
                      </a:lnTo>
                      <a:lnTo>
                        <a:pt x="284" y="457"/>
                      </a:lnTo>
                      <a:lnTo>
                        <a:pt x="280" y="410"/>
                      </a:lnTo>
                      <a:lnTo>
                        <a:pt x="303" y="407"/>
                      </a:lnTo>
                      <a:lnTo>
                        <a:pt x="315" y="399"/>
                      </a:lnTo>
                      <a:lnTo>
                        <a:pt x="309" y="418"/>
                      </a:lnTo>
                      <a:lnTo>
                        <a:pt x="319" y="432"/>
                      </a:lnTo>
                      <a:lnTo>
                        <a:pt x="329" y="449"/>
                      </a:lnTo>
                      <a:lnTo>
                        <a:pt x="334" y="460"/>
                      </a:lnTo>
                      <a:lnTo>
                        <a:pt x="362" y="457"/>
                      </a:lnTo>
                      <a:lnTo>
                        <a:pt x="385" y="416"/>
                      </a:lnTo>
                      <a:lnTo>
                        <a:pt x="402" y="396"/>
                      </a:lnTo>
                      <a:lnTo>
                        <a:pt x="412" y="382"/>
                      </a:lnTo>
                      <a:lnTo>
                        <a:pt x="424" y="365"/>
                      </a:lnTo>
                      <a:lnTo>
                        <a:pt x="435" y="343"/>
                      </a:lnTo>
                      <a:lnTo>
                        <a:pt x="445" y="351"/>
                      </a:lnTo>
                      <a:lnTo>
                        <a:pt x="445" y="338"/>
                      </a:lnTo>
                      <a:lnTo>
                        <a:pt x="451" y="329"/>
                      </a:lnTo>
                      <a:lnTo>
                        <a:pt x="469" y="335"/>
                      </a:lnTo>
                      <a:lnTo>
                        <a:pt x="498" y="371"/>
                      </a:lnTo>
                      <a:lnTo>
                        <a:pt x="492" y="271"/>
                      </a:lnTo>
                      <a:lnTo>
                        <a:pt x="467" y="315"/>
                      </a:lnTo>
                      <a:lnTo>
                        <a:pt x="447" y="312"/>
                      </a:lnTo>
                      <a:lnTo>
                        <a:pt x="441" y="285"/>
                      </a:lnTo>
                      <a:lnTo>
                        <a:pt x="441" y="271"/>
                      </a:lnTo>
                      <a:lnTo>
                        <a:pt x="435" y="262"/>
                      </a:lnTo>
                      <a:lnTo>
                        <a:pt x="451" y="240"/>
                      </a:lnTo>
                      <a:lnTo>
                        <a:pt x="461" y="223"/>
                      </a:lnTo>
                      <a:lnTo>
                        <a:pt x="470" y="218"/>
                      </a:lnTo>
                      <a:lnTo>
                        <a:pt x="478" y="215"/>
                      </a:lnTo>
                      <a:lnTo>
                        <a:pt x="484" y="201"/>
                      </a:lnTo>
                      <a:lnTo>
                        <a:pt x="492" y="198"/>
                      </a:lnTo>
                      <a:lnTo>
                        <a:pt x="502" y="198"/>
                      </a:lnTo>
                      <a:lnTo>
                        <a:pt x="484" y="173"/>
                      </a:lnTo>
                      <a:lnTo>
                        <a:pt x="467" y="179"/>
                      </a:lnTo>
                      <a:lnTo>
                        <a:pt x="455" y="179"/>
                      </a:lnTo>
                      <a:lnTo>
                        <a:pt x="445" y="170"/>
                      </a:lnTo>
                      <a:lnTo>
                        <a:pt x="445" y="187"/>
                      </a:lnTo>
                      <a:lnTo>
                        <a:pt x="435" y="204"/>
                      </a:lnTo>
                      <a:lnTo>
                        <a:pt x="422" y="232"/>
                      </a:lnTo>
                      <a:lnTo>
                        <a:pt x="408" y="243"/>
                      </a:lnTo>
                      <a:lnTo>
                        <a:pt x="399" y="243"/>
                      </a:lnTo>
                      <a:lnTo>
                        <a:pt x="395" y="262"/>
                      </a:lnTo>
                      <a:lnTo>
                        <a:pt x="395" y="271"/>
                      </a:lnTo>
                      <a:lnTo>
                        <a:pt x="387" y="279"/>
                      </a:lnTo>
                      <a:lnTo>
                        <a:pt x="397" y="312"/>
                      </a:lnTo>
                      <a:lnTo>
                        <a:pt x="402" y="329"/>
                      </a:lnTo>
                      <a:lnTo>
                        <a:pt x="391" y="354"/>
                      </a:lnTo>
                      <a:lnTo>
                        <a:pt x="377" y="371"/>
                      </a:lnTo>
                      <a:lnTo>
                        <a:pt x="373" y="396"/>
                      </a:lnTo>
                      <a:lnTo>
                        <a:pt x="366" y="416"/>
                      </a:lnTo>
                      <a:lnTo>
                        <a:pt x="358" y="416"/>
                      </a:lnTo>
                      <a:lnTo>
                        <a:pt x="346" y="418"/>
                      </a:lnTo>
                      <a:lnTo>
                        <a:pt x="334" y="427"/>
                      </a:lnTo>
                      <a:lnTo>
                        <a:pt x="331" y="424"/>
                      </a:lnTo>
                      <a:lnTo>
                        <a:pt x="331" y="410"/>
                      </a:lnTo>
                      <a:lnTo>
                        <a:pt x="329" y="388"/>
                      </a:lnTo>
                      <a:lnTo>
                        <a:pt x="319" y="388"/>
                      </a:lnTo>
                      <a:lnTo>
                        <a:pt x="313" y="374"/>
                      </a:lnTo>
                      <a:lnTo>
                        <a:pt x="315" y="354"/>
                      </a:lnTo>
                      <a:lnTo>
                        <a:pt x="317" y="343"/>
                      </a:lnTo>
                      <a:lnTo>
                        <a:pt x="315" y="338"/>
                      </a:lnTo>
                      <a:lnTo>
                        <a:pt x="307" y="343"/>
                      </a:lnTo>
                      <a:lnTo>
                        <a:pt x="303" y="343"/>
                      </a:lnTo>
                      <a:lnTo>
                        <a:pt x="297" y="340"/>
                      </a:lnTo>
                      <a:lnTo>
                        <a:pt x="294" y="338"/>
                      </a:lnTo>
                      <a:lnTo>
                        <a:pt x="284" y="349"/>
                      </a:lnTo>
                      <a:lnTo>
                        <a:pt x="274" y="363"/>
                      </a:lnTo>
                      <a:lnTo>
                        <a:pt x="264" y="377"/>
                      </a:lnTo>
                      <a:lnTo>
                        <a:pt x="243" y="374"/>
                      </a:lnTo>
                      <a:lnTo>
                        <a:pt x="229" y="371"/>
                      </a:lnTo>
                      <a:lnTo>
                        <a:pt x="220" y="357"/>
                      </a:lnTo>
                      <a:lnTo>
                        <a:pt x="220" y="349"/>
                      </a:lnTo>
                      <a:lnTo>
                        <a:pt x="226" y="338"/>
                      </a:lnTo>
                      <a:lnTo>
                        <a:pt x="233" y="329"/>
                      </a:lnTo>
                      <a:lnTo>
                        <a:pt x="239" y="318"/>
                      </a:lnTo>
                      <a:lnTo>
                        <a:pt x="226" y="324"/>
                      </a:lnTo>
                      <a:lnTo>
                        <a:pt x="220" y="310"/>
                      </a:lnTo>
                      <a:lnTo>
                        <a:pt x="220" y="301"/>
                      </a:lnTo>
                      <a:lnTo>
                        <a:pt x="239" y="298"/>
                      </a:lnTo>
                      <a:lnTo>
                        <a:pt x="257" y="296"/>
                      </a:lnTo>
                      <a:lnTo>
                        <a:pt x="245" y="287"/>
                      </a:lnTo>
                      <a:lnTo>
                        <a:pt x="227" y="290"/>
                      </a:lnTo>
                      <a:lnTo>
                        <a:pt x="227" y="273"/>
                      </a:lnTo>
                      <a:lnTo>
                        <a:pt x="235" y="262"/>
                      </a:lnTo>
                      <a:lnTo>
                        <a:pt x="253" y="251"/>
                      </a:lnTo>
                      <a:lnTo>
                        <a:pt x="259" y="240"/>
                      </a:lnTo>
                      <a:lnTo>
                        <a:pt x="264" y="234"/>
                      </a:lnTo>
                      <a:lnTo>
                        <a:pt x="278" y="232"/>
                      </a:lnTo>
                      <a:lnTo>
                        <a:pt x="290" y="234"/>
                      </a:lnTo>
                      <a:lnTo>
                        <a:pt x="296" y="240"/>
                      </a:lnTo>
                      <a:lnTo>
                        <a:pt x="305" y="232"/>
                      </a:lnTo>
                      <a:lnTo>
                        <a:pt x="296" y="229"/>
                      </a:lnTo>
                      <a:lnTo>
                        <a:pt x="296" y="206"/>
                      </a:lnTo>
                      <a:lnTo>
                        <a:pt x="321" y="181"/>
                      </a:lnTo>
                      <a:lnTo>
                        <a:pt x="334" y="165"/>
                      </a:lnTo>
                      <a:lnTo>
                        <a:pt x="342" y="162"/>
                      </a:lnTo>
                      <a:lnTo>
                        <a:pt x="340" y="153"/>
                      </a:lnTo>
                      <a:lnTo>
                        <a:pt x="352" y="137"/>
                      </a:lnTo>
                      <a:lnTo>
                        <a:pt x="366" y="112"/>
                      </a:lnTo>
                      <a:lnTo>
                        <a:pt x="381" y="100"/>
                      </a:lnTo>
                      <a:lnTo>
                        <a:pt x="369" y="89"/>
                      </a:lnTo>
                      <a:lnTo>
                        <a:pt x="401" y="64"/>
                      </a:lnTo>
                      <a:lnTo>
                        <a:pt x="414" y="67"/>
                      </a:lnTo>
                      <a:lnTo>
                        <a:pt x="412" y="53"/>
                      </a:lnTo>
                      <a:lnTo>
                        <a:pt x="439" y="50"/>
                      </a:lnTo>
                      <a:lnTo>
                        <a:pt x="490" y="6"/>
                      </a:lnTo>
                      <a:lnTo>
                        <a:pt x="498" y="0"/>
                      </a:lnTo>
                      <a:lnTo>
                        <a:pt x="488" y="33"/>
                      </a:lnTo>
                      <a:lnTo>
                        <a:pt x="500" y="17"/>
                      </a:lnTo>
                      <a:lnTo>
                        <a:pt x="513" y="11"/>
                      </a:lnTo>
                      <a:lnTo>
                        <a:pt x="511" y="25"/>
                      </a:lnTo>
                      <a:lnTo>
                        <a:pt x="550" y="8"/>
                      </a:lnTo>
                      <a:lnTo>
                        <a:pt x="568" y="22"/>
                      </a:lnTo>
                      <a:lnTo>
                        <a:pt x="542" y="36"/>
                      </a:lnTo>
                      <a:lnTo>
                        <a:pt x="552" y="53"/>
                      </a:lnTo>
                      <a:lnTo>
                        <a:pt x="589" y="50"/>
                      </a:lnTo>
                      <a:lnTo>
                        <a:pt x="645" y="75"/>
                      </a:lnTo>
                      <a:lnTo>
                        <a:pt x="642" y="103"/>
                      </a:lnTo>
                      <a:lnTo>
                        <a:pt x="618" y="128"/>
                      </a:lnTo>
                      <a:lnTo>
                        <a:pt x="583" y="142"/>
                      </a:lnTo>
                      <a:lnTo>
                        <a:pt x="577" y="170"/>
                      </a:lnTo>
                      <a:lnTo>
                        <a:pt x="579" y="198"/>
                      </a:lnTo>
                      <a:lnTo>
                        <a:pt x="589" y="204"/>
                      </a:lnTo>
                      <a:lnTo>
                        <a:pt x="591" y="218"/>
                      </a:lnTo>
                      <a:lnTo>
                        <a:pt x="595" y="223"/>
                      </a:lnTo>
                      <a:lnTo>
                        <a:pt x="603" y="229"/>
                      </a:lnTo>
                      <a:lnTo>
                        <a:pt x="605" y="245"/>
                      </a:lnTo>
                      <a:lnTo>
                        <a:pt x="616" y="265"/>
                      </a:lnTo>
                      <a:lnTo>
                        <a:pt x="616" y="273"/>
                      </a:lnTo>
                      <a:lnTo>
                        <a:pt x="628" y="273"/>
                      </a:lnTo>
                      <a:lnTo>
                        <a:pt x="632" y="279"/>
                      </a:lnTo>
                      <a:lnTo>
                        <a:pt x="642" y="285"/>
                      </a:lnTo>
                      <a:lnTo>
                        <a:pt x="647" y="276"/>
                      </a:lnTo>
                      <a:lnTo>
                        <a:pt x="653" y="262"/>
                      </a:lnTo>
                      <a:lnTo>
                        <a:pt x="657" y="254"/>
                      </a:lnTo>
                      <a:lnTo>
                        <a:pt x="667" y="259"/>
                      </a:lnTo>
                      <a:lnTo>
                        <a:pt x="679" y="240"/>
                      </a:lnTo>
                      <a:lnTo>
                        <a:pt x="679" y="226"/>
                      </a:lnTo>
                      <a:lnTo>
                        <a:pt x="682" y="215"/>
                      </a:lnTo>
                      <a:lnTo>
                        <a:pt x="684" y="206"/>
                      </a:lnTo>
                      <a:lnTo>
                        <a:pt x="708" y="198"/>
                      </a:lnTo>
                      <a:lnTo>
                        <a:pt x="727" y="190"/>
                      </a:lnTo>
                      <a:lnTo>
                        <a:pt x="752" y="179"/>
                      </a:lnTo>
                      <a:lnTo>
                        <a:pt x="782" y="187"/>
                      </a:lnTo>
                      <a:lnTo>
                        <a:pt x="811" y="187"/>
                      </a:lnTo>
                      <a:lnTo>
                        <a:pt x="859" y="187"/>
                      </a:lnTo>
                      <a:lnTo>
                        <a:pt x="867" y="120"/>
                      </a:lnTo>
                      <a:lnTo>
                        <a:pt x="894" y="123"/>
                      </a:lnTo>
                      <a:lnTo>
                        <a:pt x="914" y="173"/>
                      </a:lnTo>
                      <a:lnTo>
                        <a:pt x="918" y="131"/>
                      </a:lnTo>
                      <a:lnTo>
                        <a:pt x="1007" y="8"/>
                      </a:lnTo>
                      <a:lnTo>
                        <a:pt x="1042" y="8"/>
                      </a:lnTo>
                      <a:lnTo>
                        <a:pt x="1073" y="33"/>
                      </a:lnTo>
                      <a:lnTo>
                        <a:pt x="1114" y="31"/>
                      </a:lnTo>
                      <a:lnTo>
                        <a:pt x="1168" y="75"/>
                      </a:lnTo>
                      <a:lnTo>
                        <a:pt x="1231" y="100"/>
                      </a:lnTo>
                      <a:lnTo>
                        <a:pt x="1275" y="95"/>
                      </a:lnTo>
                      <a:lnTo>
                        <a:pt x="1334" y="123"/>
                      </a:lnTo>
                      <a:lnTo>
                        <a:pt x="1382" y="123"/>
                      </a:lnTo>
                      <a:lnTo>
                        <a:pt x="1406" y="103"/>
                      </a:lnTo>
                      <a:lnTo>
                        <a:pt x="1460" y="103"/>
                      </a:lnTo>
                      <a:lnTo>
                        <a:pt x="1489" y="126"/>
                      </a:lnTo>
                      <a:lnTo>
                        <a:pt x="1563" y="126"/>
                      </a:lnTo>
                      <a:lnTo>
                        <a:pt x="1625" y="162"/>
                      </a:lnTo>
                      <a:lnTo>
                        <a:pt x="1736" y="156"/>
                      </a:lnTo>
                      <a:lnTo>
                        <a:pt x="1917" y="173"/>
                      </a:lnTo>
                      <a:lnTo>
                        <a:pt x="2004" y="226"/>
                      </a:lnTo>
                      <a:lnTo>
                        <a:pt x="2078" y="259"/>
                      </a:lnTo>
                      <a:lnTo>
                        <a:pt x="2125" y="287"/>
                      </a:lnTo>
                      <a:lnTo>
                        <a:pt x="2111" y="296"/>
                      </a:lnTo>
                      <a:lnTo>
                        <a:pt x="2078" y="273"/>
                      </a:lnTo>
                      <a:lnTo>
                        <a:pt x="2003" y="265"/>
                      </a:lnTo>
                      <a:lnTo>
                        <a:pt x="2024" y="287"/>
                      </a:lnTo>
                      <a:lnTo>
                        <a:pt x="2057" y="298"/>
                      </a:lnTo>
                      <a:lnTo>
                        <a:pt x="2047" y="335"/>
                      </a:lnTo>
                      <a:lnTo>
                        <a:pt x="2012" y="357"/>
                      </a:lnTo>
                      <a:lnTo>
                        <a:pt x="2001" y="393"/>
                      </a:lnTo>
                      <a:lnTo>
                        <a:pt x="2047" y="427"/>
                      </a:lnTo>
                      <a:lnTo>
                        <a:pt x="2080" y="471"/>
                      </a:lnTo>
                      <a:lnTo>
                        <a:pt x="2098" y="536"/>
                      </a:lnTo>
                      <a:lnTo>
                        <a:pt x="2076" y="541"/>
                      </a:lnTo>
                      <a:lnTo>
                        <a:pt x="2030" y="522"/>
                      </a:lnTo>
                      <a:lnTo>
                        <a:pt x="1981" y="474"/>
                      </a:lnTo>
                      <a:lnTo>
                        <a:pt x="1962" y="449"/>
                      </a:lnTo>
                      <a:lnTo>
                        <a:pt x="1950" y="416"/>
                      </a:lnTo>
                      <a:lnTo>
                        <a:pt x="1938" y="365"/>
                      </a:lnTo>
                      <a:lnTo>
                        <a:pt x="1919" y="349"/>
                      </a:lnTo>
                      <a:lnTo>
                        <a:pt x="1901" y="346"/>
                      </a:lnTo>
                      <a:lnTo>
                        <a:pt x="1886" y="351"/>
                      </a:lnTo>
                      <a:lnTo>
                        <a:pt x="1903" y="391"/>
                      </a:lnTo>
                      <a:lnTo>
                        <a:pt x="1857" y="396"/>
                      </a:lnTo>
                      <a:lnTo>
                        <a:pt x="1835" y="377"/>
                      </a:lnTo>
                      <a:lnTo>
                        <a:pt x="1794" y="388"/>
                      </a:lnTo>
                      <a:lnTo>
                        <a:pt x="1763" y="418"/>
                      </a:lnTo>
                      <a:lnTo>
                        <a:pt x="1763" y="435"/>
                      </a:lnTo>
                      <a:lnTo>
                        <a:pt x="1775" y="463"/>
                      </a:lnTo>
                      <a:lnTo>
                        <a:pt x="1824" y="471"/>
                      </a:lnTo>
                      <a:lnTo>
                        <a:pt x="1863" y="505"/>
                      </a:lnTo>
                      <a:lnTo>
                        <a:pt x="1929" y="597"/>
                      </a:lnTo>
                      <a:lnTo>
                        <a:pt x="1956" y="658"/>
                      </a:lnTo>
                      <a:lnTo>
                        <a:pt x="1960" y="722"/>
                      </a:lnTo>
                      <a:lnTo>
                        <a:pt x="1954" y="775"/>
                      </a:lnTo>
                      <a:lnTo>
                        <a:pt x="1938" y="775"/>
                      </a:lnTo>
                      <a:lnTo>
                        <a:pt x="1921" y="756"/>
                      </a:lnTo>
                      <a:lnTo>
                        <a:pt x="1896" y="781"/>
                      </a:lnTo>
                      <a:lnTo>
                        <a:pt x="1870" y="803"/>
                      </a:lnTo>
                      <a:lnTo>
                        <a:pt x="1866" y="840"/>
                      </a:lnTo>
                      <a:lnTo>
                        <a:pt x="1894" y="884"/>
                      </a:lnTo>
                      <a:lnTo>
                        <a:pt x="1876" y="920"/>
                      </a:lnTo>
                      <a:lnTo>
                        <a:pt x="1870" y="982"/>
                      </a:lnTo>
                      <a:lnTo>
                        <a:pt x="1903" y="1021"/>
                      </a:lnTo>
                      <a:lnTo>
                        <a:pt x="1940" y="1032"/>
                      </a:lnTo>
                      <a:lnTo>
                        <a:pt x="1979" y="1074"/>
                      </a:lnTo>
                      <a:lnTo>
                        <a:pt x="2012" y="1130"/>
                      </a:lnTo>
                      <a:lnTo>
                        <a:pt x="2014" y="1213"/>
                      </a:lnTo>
                      <a:lnTo>
                        <a:pt x="2003" y="1252"/>
                      </a:lnTo>
                      <a:lnTo>
                        <a:pt x="1968" y="1286"/>
                      </a:lnTo>
                      <a:lnTo>
                        <a:pt x="1925" y="1303"/>
                      </a:lnTo>
                      <a:lnTo>
                        <a:pt x="1898" y="1328"/>
                      </a:lnTo>
                      <a:lnTo>
                        <a:pt x="1882" y="1314"/>
                      </a:lnTo>
                      <a:lnTo>
                        <a:pt x="1868" y="1328"/>
                      </a:lnTo>
                      <a:lnTo>
                        <a:pt x="1864" y="1389"/>
                      </a:lnTo>
                      <a:lnTo>
                        <a:pt x="1874" y="1425"/>
                      </a:lnTo>
                      <a:lnTo>
                        <a:pt x="1917" y="1467"/>
                      </a:lnTo>
                      <a:lnTo>
                        <a:pt x="1934" y="1509"/>
                      </a:lnTo>
                      <a:lnTo>
                        <a:pt x="1948" y="1531"/>
                      </a:lnTo>
                      <a:lnTo>
                        <a:pt x="1944" y="1576"/>
                      </a:lnTo>
                      <a:lnTo>
                        <a:pt x="1917" y="1612"/>
                      </a:lnTo>
                      <a:lnTo>
                        <a:pt x="1888" y="1612"/>
                      </a:lnTo>
                      <a:lnTo>
                        <a:pt x="1841" y="1559"/>
                      </a:lnTo>
                      <a:lnTo>
                        <a:pt x="1808" y="1540"/>
                      </a:lnTo>
                      <a:lnTo>
                        <a:pt x="1794" y="1529"/>
                      </a:lnTo>
                      <a:lnTo>
                        <a:pt x="1781" y="1556"/>
                      </a:lnTo>
                      <a:lnTo>
                        <a:pt x="1785" y="1596"/>
                      </a:lnTo>
                      <a:lnTo>
                        <a:pt x="1796" y="1626"/>
                      </a:lnTo>
                      <a:lnTo>
                        <a:pt x="1804" y="1674"/>
                      </a:lnTo>
                      <a:lnTo>
                        <a:pt x="1833" y="1690"/>
                      </a:lnTo>
                      <a:lnTo>
                        <a:pt x="1824" y="1715"/>
                      </a:lnTo>
                      <a:lnTo>
                        <a:pt x="1826" y="1752"/>
                      </a:lnTo>
                      <a:lnTo>
                        <a:pt x="1835" y="1788"/>
                      </a:lnTo>
                      <a:lnTo>
                        <a:pt x="1816" y="1785"/>
                      </a:lnTo>
                      <a:lnTo>
                        <a:pt x="1794" y="1743"/>
                      </a:lnTo>
                      <a:lnTo>
                        <a:pt x="1796" y="1699"/>
                      </a:lnTo>
                      <a:lnTo>
                        <a:pt x="1789" y="1685"/>
                      </a:lnTo>
                      <a:lnTo>
                        <a:pt x="1781" y="1635"/>
                      </a:lnTo>
                      <a:lnTo>
                        <a:pt x="1771" y="1621"/>
                      </a:lnTo>
                      <a:lnTo>
                        <a:pt x="1767" y="1551"/>
                      </a:lnTo>
                      <a:lnTo>
                        <a:pt x="1754" y="1509"/>
                      </a:lnTo>
                      <a:lnTo>
                        <a:pt x="1730" y="1470"/>
                      </a:lnTo>
                      <a:lnTo>
                        <a:pt x="1688" y="1448"/>
                      </a:lnTo>
                      <a:lnTo>
                        <a:pt x="1658" y="1411"/>
                      </a:lnTo>
                      <a:lnTo>
                        <a:pt x="1647" y="1384"/>
                      </a:lnTo>
                      <a:lnTo>
                        <a:pt x="1625" y="1353"/>
                      </a:lnTo>
                      <a:lnTo>
                        <a:pt x="1592" y="1283"/>
                      </a:lnTo>
                      <a:lnTo>
                        <a:pt x="1563" y="1289"/>
                      </a:lnTo>
                      <a:lnTo>
                        <a:pt x="1524" y="1322"/>
                      </a:lnTo>
                      <a:lnTo>
                        <a:pt x="1507" y="1350"/>
                      </a:lnTo>
                      <a:lnTo>
                        <a:pt x="1472" y="1403"/>
                      </a:lnTo>
                      <a:lnTo>
                        <a:pt x="1446" y="1459"/>
                      </a:lnTo>
                      <a:lnTo>
                        <a:pt x="1437" y="1478"/>
                      </a:lnTo>
                      <a:lnTo>
                        <a:pt x="1446" y="1543"/>
                      </a:lnTo>
                      <a:lnTo>
                        <a:pt x="1445" y="1607"/>
                      </a:lnTo>
                      <a:lnTo>
                        <a:pt x="1413" y="1651"/>
                      </a:lnTo>
                      <a:lnTo>
                        <a:pt x="1396" y="1654"/>
                      </a:lnTo>
                      <a:lnTo>
                        <a:pt x="1359" y="1562"/>
                      </a:lnTo>
                      <a:lnTo>
                        <a:pt x="1330" y="1498"/>
                      </a:lnTo>
                      <a:lnTo>
                        <a:pt x="1272" y="1375"/>
                      </a:lnTo>
                      <a:lnTo>
                        <a:pt x="1270" y="1328"/>
                      </a:lnTo>
                      <a:lnTo>
                        <a:pt x="1256" y="1305"/>
                      </a:lnTo>
                      <a:lnTo>
                        <a:pt x="1246" y="1336"/>
                      </a:lnTo>
                      <a:lnTo>
                        <a:pt x="1196" y="1266"/>
                      </a:lnTo>
                      <a:lnTo>
                        <a:pt x="1128" y="1213"/>
                      </a:lnTo>
                      <a:lnTo>
                        <a:pt x="1085" y="1225"/>
                      </a:lnTo>
                      <a:lnTo>
                        <a:pt x="1023" y="1219"/>
                      </a:lnTo>
                      <a:lnTo>
                        <a:pt x="993" y="1180"/>
                      </a:lnTo>
                      <a:lnTo>
                        <a:pt x="960" y="1185"/>
                      </a:lnTo>
                      <a:lnTo>
                        <a:pt x="914" y="1169"/>
                      </a:lnTo>
                      <a:lnTo>
                        <a:pt x="817" y="1038"/>
                      </a:lnTo>
                      <a:lnTo>
                        <a:pt x="822" y="1091"/>
                      </a:lnTo>
                      <a:lnTo>
                        <a:pt x="852" y="1166"/>
                      </a:lnTo>
                      <a:lnTo>
                        <a:pt x="885" y="1219"/>
                      </a:lnTo>
                      <a:lnTo>
                        <a:pt x="920" y="1247"/>
                      </a:lnTo>
                      <a:lnTo>
                        <a:pt x="958" y="1225"/>
                      </a:lnTo>
                      <a:lnTo>
                        <a:pt x="990" y="1225"/>
                      </a:lnTo>
                      <a:lnTo>
                        <a:pt x="1030" y="1272"/>
                      </a:lnTo>
                      <a:lnTo>
                        <a:pt x="1054" y="1308"/>
                      </a:lnTo>
                      <a:lnTo>
                        <a:pt x="1050" y="1331"/>
                      </a:lnTo>
                      <a:lnTo>
                        <a:pt x="980" y="1434"/>
                      </a:lnTo>
                      <a:lnTo>
                        <a:pt x="933" y="1473"/>
                      </a:lnTo>
                      <a:lnTo>
                        <a:pt x="836" y="1523"/>
                      </a:lnTo>
                      <a:lnTo>
                        <a:pt x="807" y="1540"/>
                      </a:lnTo>
                      <a:lnTo>
                        <a:pt x="789" y="1523"/>
                      </a:lnTo>
                      <a:lnTo>
                        <a:pt x="784" y="1503"/>
                      </a:lnTo>
                      <a:lnTo>
                        <a:pt x="782" y="1473"/>
                      </a:lnTo>
                      <a:lnTo>
                        <a:pt x="774" y="1442"/>
                      </a:lnTo>
                      <a:lnTo>
                        <a:pt x="760" y="1417"/>
                      </a:lnTo>
                      <a:lnTo>
                        <a:pt x="749" y="1395"/>
                      </a:lnTo>
                      <a:lnTo>
                        <a:pt x="731" y="1364"/>
                      </a:lnTo>
                      <a:lnTo>
                        <a:pt x="721" y="1344"/>
                      </a:lnTo>
                      <a:lnTo>
                        <a:pt x="714" y="1319"/>
                      </a:lnTo>
                      <a:lnTo>
                        <a:pt x="700" y="1297"/>
                      </a:lnTo>
                      <a:lnTo>
                        <a:pt x="679" y="1241"/>
                      </a:lnTo>
                      <a:lnTo>
                        <a:pt x="667" y="1219"/>
                      </a:lnTo>
                      <a:lnTo>
                        <a:pt x="651" y="1188"/>
                      </a:lnTo>
                      <a:lnTo>
                        <a:pt x="626" y="1146"/>
                      </a:lnTo>
                      <a:lnTo>
                        <a:pt x="612" y="1121"/>
                      </a:lnTo>
                      <a:lnTo>
                        <a:pt x="601" y="1105"/>
                      </a:lnTo>
                      <a:lnTo>
                        <a:pt x="587" y="1068"/>
                      </a:lnTo>
                      <a:lnTo>
                        <a:pt x="628" y="1035"/>
                      </a:lnTo>
                      <a:lnTo>
                        <a:pt x="645" y="962"/>
                      </a:lnTo>
                      <a:lnTo>
                        <a:pt x="607" y="943"/>
                      </a:lnTo>
                      <a:lnTo>
                        <a:pt x="554" y="954"/>
                      </a:lnTo>
                      <a:lnTo>
                        <a:pt x="542" y="946"/>
                      </a:lnTo>
                      <a:lnTo>
                        <a:pt x="537" y="946"/>
                      </a:lnTo>
                      <a:lnTo>
                        <a:pt x="529" y="946"/>
                      </a:lnTo>
                      <a:lnTo>
                        <a:pt x="523" y="946"/>
                      </a:lnTo>
                      <a:lnTo>
                        <a:pt x="521" y="932"/>
                      </a:lnTo>
                      <a:lnTo>
                        <a:pt x="517" y="920"/>
                      </a:lnTo>
                      <a:lnTo>
                        <a:pt x="517" y="898"/>
                      </a:lnTo>
                      <a:lnTo>
                        <a:pt x="507" y="887"/>
                      </a:lnTo>
                      <a:lnTo>
                        <a:pt x="505" y="873"/>
                      </a:lnTo>
                      <a:lnTo>
                        <a:pt x="500" y="870"/>
                      </a:lnTo>
                      <a:lnTo>
                        <a:pt x="494" y="859"/>
                      </a:lnTo>
                      <a:lnTo>
                        <a:pt x="492" y="848"/>
                      </a:lnTo>
                      <a:lnTo>
                        <a:pt x="488" y="837"/>
                      </a:lnTo>
                      <a:lnTo>
                        <a:pt x="484" y="831"/>
                      </a:lnTo>
                      <a:lnTo>
                        <a:pt x="472" y="831"/>
                      </a:lnTo>
                      <a:lnTo>
                        <a:pt x="465" y="831"/>
                      </a:lnTo>
                      <a:lnTo>
                        <a:pt x="461" y="831"/>
                      </a:lnTo>
                      <a:lnTo>
                        <a:pt x="459" y="845"/>
                      </a:lnTo>
                      <a:lnTo>
                        <a:pt x="459" y="859"/>
                      </a:lnTo>
                      <a:lnTo>
                        <a:pt x="459" y="876"/>
                      </a:lnTo>
                      <a:lnTo>
                        <a:pt x="459" y="893"/>
                      </a:lnTo>
                      <a:lnTo>
                        <a:pt x="459" y="904"/>
                      </a:lnTo>
                      <a:lnTo>
                        <a:pt x="449" y="909"/>
                      </a:lnTo>
                      <a:lnTo>
                        <a:pt x="441" y="920"/>
                      </a:lnTo>
                      <a:lnTo>
                        <a:pt x="430" y="904"/>
                      </a:lnTo>
                      <a:lnTo>
                        <a:pt x="422" y="881"/>
                      </a:lnTo>
                      <a:lnTo>
                        <a:pt x="424" y="856"/>
                      </a:lnTo>
                      <a:lnTo>
                        <a:pt x="412" y="823"/>
                      </a:lnTo>
                      <a:lnTo>
                        <a:pt x="406" y="801"/>
                      </a:lnTo>
                      <a:lnTo>
                        <a:pt x="393" y="787"/>
                      </a:lnTo>
                      <a:lnTo>
                        <a:pt x="377" y="773"/>
                      </a:lnTo>
                      <a:lnTo>
                        <a:pt x="369" y="753"/>
                      </a:lnTo>
                      <a:lnTo>
                        <a:pt x="364" y="739"/>
                      </a:lnTo>
                      <a:lnTo>
                        <a:pt x="350" y="736"/>
                      </a:lnTo>
                      <a:lnTo>
                        <a:pt x="346" y="728"/>
                      </a:lnTo>
                      <a:lnTo>
                        <a:pt x="336" y="728"/>
                      </a:lnTo>
                      <a:lnTo>
                        <a:pt x="329" y="742"/>
                      </a:lnTo>
                      <a:lnTo>
                        <a:pt x="321" y="753"/>
                      </a:lnTo>
                      <a:lnTo>
                        <a:pt x="338" y="767"/>
                      </a:lnTo>
                      <a:lnTo>
                        <a:pt x="348" y="787"/>
                      </a:lnTo>
                      <a:lnTo>
                        <a:pt x="366" y="812"/>
                      </a:lnTo>
                      <a:lnTo>
                        <a:pt x="373" y="823"/>
                      </a:lnTo>
                      <a:lnTo>
                        <a:pt x="387" y="831"/>
                      </a:lnTo>
                      <a:lnTo>
                        <a:pt x="397" y="848"/>
                      </a:lnTo>
                      <a:lnTo>
                        <a:pt x="385" y="868"/>
                      </a:lnTo>
                      <a:lnTo>
                        <a:pt x="383" y="859"/>
                      </a:lnTo>
                      <a:lnTo>
                        <a:pt x="383" y="848"/>
                      </a:lnTo>
                      <a:lnTo>
                        <a:pt x="377" y="873"/>
                      </a:lnTo>
                      <a:lnTo>
                        <a:pt x="375" y="895"/>
                      </a:lnTo>
                      <a:lnTo>
                        <a:pt x="364" y="901"/>
                      </a:lnTo>
                      <a:lnTo>
                        <a:pt x="367" y="873"/>
                      </a:lnTo>
                      <a:lnTo>
                        <a:pt x="366" y="859"/>
                      </a:lnTo>
                      <a:lnTo>
                        <a:pt x="352" y="851"/>
                      </a:lnTo>
                      <a:lnTo>
                        <a:pt x="346" y="845"/>
                      </a:lnTo>
                      <a:lnTo>
                        <a:pt x="340" y="834"/>
                      </a:lnTo>
                      <a:lnTo>
                        <a:pt x="329" y="828"/>
                      </a:lnTo>
                      <a:lnTo>
                        <a:pt x="321" y="820"/>
                      </a:lnTo>
                      <a:lnTo>
                        <a:pt x="313" y="803"/>
                      </a:lnTo>
                      <a:lnTo>
                        <a:pt x="303" y="795"/>
                      </a:lnTo>
                      <a:lnTo>
                        <a:pt x="297" y="778"/>
                      </a:lnTo>
                      <a:lnTo>
                        <a:pt x="296" y="764"/>
                      </a:lnTo>
                      <a:lnTo>
                        <a:pt x="288" y="759"/>
                      </a:lnTo>
                      <a:lnTo>
                        <a:pt x="280" y="750"/>
                      </a:lnTo>
                      <a:lnTo>
                        <a:pt x="264" y="750"/>
                      </a:lnTo>
                      <a:lnTo>
                        <a:pt x="251" y="753"/>
                      </a:lnTo>
                      <a:lnTo>
                        <a:pt x="235" y="750"/>
                      </a:lnTo>
                      <a:lnTo>
                        <a:pt x="208" y="753"/>
                      </a:lnTo>
                      <a:lnTo>
                        <a:pt x="189" y="756"/>
                      </a:lnTo>
                      <a:lnTo>
                        <a:pt x="183" y="762"/>
                      </a:lnTo>
                      <a:lnTo>
                        <a:pt x="181" y="778"/>
                      </a:lnTo>
                      <a:lnTo>
                        <a:pt x="181" y="798"/>
                      </a:lnTo>
                      <a:lnTo>
                        <a:pt x="169" y="817"/>
                      </a:lnTo>
                      <a:lnTo>
                        <a:pt x="161" y="826"/>
                      </a:lnTo>
                      <a:lnTo>
                        <a:pt x="157" y="831"/>
                      </a:lnTo>
                      <a:lnTo>
                        <a:pt x="152" y="845"/>
                      </a:lnTo>
                      <a:lnTo>
                        <a:pt x="148" y="856"/>
                      </a:lnTo>
                      <a:lnTo>
                        <a:pt x="154" y="865"/>
                      </a:lnTo>
                      <a:lnTo>
                        <a:pt x="154" y="881"/>
                      </a:lnTo>
                      <a:lnTo>
                        <a:pt x="152" y="890"/>
                      </a:lnTo>
                      <a:lnTo>
                        <a:pt x="148" y="901"/>
                      </a:lnTo>
                      <a:lnTo>
                        <a:pt x="138" y="920"/>
                      </a:lnTo>
                      <a:lnTo>
                        <a:pt x="132" y="912"/>
                      </a:lnTo>
                      <a:lnTo>
                        <a:pt x="126" y="918"/>
                      </a:lnTo>
                      <a:lnTo>
                        <a:pt x="119" y="926"/>
                      </a:lnTo>
                      <a:lnTo>
                        <a:pt x="107" y="929"/>
                      </a:lnTo>
                      <a:lnTo>
                        <a:pt x="95" y="943"/>
                      </a:lnTo>
                      <a:lnTo>
                        <a:pt x="84" y="946"/>
                      </a:lnTo>
                      <a:lnTo>
                        <a:pt x="72" y="946"/>
                      </a:lnTo>
                      <a:lnTo>
                        <a:pt x="60" y="946"/>
                      </a:lnTo>
                      <a:lnTo>
                        <a:pt x="35" y="954"/>
                      </a:lnTo>
                      <a:lnTo>
                        <a:pt x="23" y="954"/>
                      </a:lnTo>
                      <a:lnTo>
                        <a:pt x="17" y="934"/>
                      </a:lnTo>
                      <a:lnTo>
                        <a:pt x="12" y="909"/>
                      </a:lnTo>
                      <a:lnTo>
                        <a:pt x="8" y="887"/>
                      </a:lnTo>
                      <a:lnTo>
                        <a:pt x="6" y="865"/>
                      </a:lnTo>
                      <a:lnTo>
                        <a:pt x="6" y="837"/>
                      </a:lnTo>
                      <a:lnTo>
                        <a:pt x="0" y="803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</p:grpSp>
        <p:grpSp>
          <p:nvGrpSpPr>
            <p:cNvPr id="1065" name="Group 41"/>
            <p:cNvGrpSpPr>
              <a:grpSpLocks/>
            </p:cNvGrpSpPr>
            <p:nvPr/>
          </p:nvGrpSpPr>
          <p:grpSpPr bwMode="auto">
            <a:xfrm>
              <a:off x="92" y="615"/>
              <a:ext cx="1865" cy="3311"/>
              <a:chOff x="92" y="615"/>
              <a:chExt cx="1865" cy="3311"/>
            </a:xfrm>
          </p:grpSpPr>
          <p:sp>
            <p:nvSpPr>
              <p:cNvPr id="1059" name="Freeform 35"/>
              <p:cNvSpPr>
                <a:spLocks/>
              </p:cNvSpPr>
              <p:nvPr/>
            </p:nvSpPr>
            <p:spPr bwMode="auto">
              <a:xfrm>
                <a:off x="92" y="761"/>
                <a:ext cx="1262" cy="1550"/>
              </a:xfrm>
              <a:custGeom>
                <a:avLst/>
                <a:gdLst>
                  <a:gd name="T0" fmla="*/ 101 w 1262"/>
                  <a:gd name="T1" fmla="*/ 290 h 1550"/>
                  <a:gd name="T2" fmla="*/ 82 w 1262"/>
                  <a:gd name="T3" fmla="*/ 203 h 1550"/>
                  <a:gd name="T4" fmla="*/ 181 w 1262"/>
                  <a:gd name="T5" fmla="*/ 131 h 1550"/>
                  <a:gd name="T6" fmla="*/ 225 w 1262"/>
                  <a:gd name="T7" fmla="*/ 75 h 1550"/>
                  <a:gd name="T8" fmla="*/ 303 w 1262"/>
                  <a:gd name="T9" fmla="*/ 64 h 1550"/>
                  <a:gd name="T10" fmla="*/ 544 w 1262"/>
                  <a:gd name="T11" fmla="*/ 67 h 1550"/>
                  <a:gd name="T12" fmla="*/ 666 w 1262"/>
                  <a:gd name="T13" fmla="*/ 95 h 1550"/>
                  <a:gd name="T14" fmla="*/ 620 w 1262"/>
                  <a:gd name="T15" fmla="*/ 92 h 1550"/>
                  <a:gd name="T16" fmla="*/ 589 w 1262"/>
                  <a:gd name="T17" fmla="*/ 3 h 1550"/>
                  <a:gd name="T18" fmla="*/ 649 w 1262"/>
                  <a:gd name="T19" fmla="*/ 0 h 1550"/>
                  <a:gd name="T20" fmla="*/ 696 w 1262"/>
                  <a:gd name="T21" fmla="*/ 39 h 1550"/>
                  <a:gd name="T22" fmla="*/ 767 w 1262"/>
                  <a:gd name="T23" fmla="*/ 103 h 1550"/>
                  <a:gd name="T24" fmla="*/ 754 w 1262"/>
                  <a:gd name="T25" fmla="*/ 33 h 1550"/>
                  <a:gd name="T26" fmla="*/ 884 w 1262"/>
                  <a:gd name="T27" fmla="*/ 100 h 1550"/>
                  <a:gd name="T28" fmla="*/ 886 w 1262"/>
                  <a:gd name="T29" fmla="*/ 128 h 1550"/>
                  <a:gd name="T30" fmla="*/ 847 w 1262"/>
                  <a:gd name="T31" fmla="*/ 198 h 1550"/>
                  <a:gd name="T32" fmla="*/ 814 w 1262"/>
                  <a:gd name="T33" fmla="*/ 312 h 1550"/>
                  <a:gd name="T34" fmla="*/ 935 w 1262"/>
                  <a:gd name="T35" fmla="*/ 376 h 1550"/>
                  <a:gd name="T36" fmla="*/ 938 w 1262"/>
                  <a:gd name="T37" fmla="*/ 476 h 1550"/>
                  <a:gd name="T38" fmla="*/ 956 w 1262"/>
                  <a:gd name="T39" fmla="*/ 398 h 1550"/>
                  <a:gd name="T40" fmla="*/ 956 w 1262"/>
                  <a:gd name="T41" fmla="*/ 254 h 1550"/>
                  <a:gd name="T42" fmla="*/ 1043 w 1262"/>
                  <a:gd name="T43" fmla="*/ 293 h 1550"/>
                  <a:gd name="T44" fmla="*/ 1098 w 1262"/>
                  <a:gd name="T45" fmla="*/ 251 h 1550"/>
                  <a:gd name="T46" fmla="*/ 1195 w 1262"/>
                  <a:gd name="T47" fmla="*/ 357 h 1550"/>
                  <a:gd name="T48" fmla="*/ 1261 w 1262"/>
                  <a:gd name="T49" fmla="*/ 449 h 1550"/>
                  <a:gd name="T50" fmla="*/ 1209 w 1262"/>
                  <a:gd name="T51" fmla="*/ 485 h 1550"/>
                  <a:gd name="T52" fmla="*/ 1117 w 1262"/>
                  <a:gd name="T53" fmla="*/ 515 h 1550"/>
                  <a:gd name="T54" fmla="*/ 1181 w 1262"/>
                  <a:gd name="T55" fmla="*/ 535 h 1550"/>
                  <a:gd name="T56" fmla="*/ 1209 w 1262"/>
                  <a:gd name="T57" fmla="*/ 618 h 1550"/>
                  <a:gd name="T58" fmla="*/ 1183 w 1262"/>
                  <a:gd name="T59" fmla="*/ 624 h 1550"/>
                  <a:gd name="T60" fmla="*/ 1146 w 1262"/>
                  <a:gd name="T61" fmla="*/ 657 h 1550"/>
                  <a:gd name="T62" fmla="*/ 1088 w 1262"/>
                  <a:gd name="T63" fmla="*/ 730 h 1550"/>
                  <a:gd name="T64" fmla="*/ 1082 w 1262"/>
                  <a:gd name="T65" fmla="*/ 839 h 1550"/>
                  <a:gd name="T66" fmla="*/ 1020 w 1262"/>
                  <a:gd name="T67" fmla="*/ 1003 h 1550"/>
                  <a:gd name="T68" fmla="*/ 1038 w 1262"/>
                  <a:gd name="T69" fmla="*/ 1142 h 1550"/>
                  <a:gd name="T70" fmla="*/ 1003 w 1262"/>
                  <a:gd name="T71" fmla="*/ 1048 h 1550"/>
                  <a:gd name="T72" fmla="*/ 942 w 1262"/>
                  <a:gd name="T73" fmla="*/ 1006 h 1550"/>
                  <a:gd name="T74" fmla="*/ 890 w 1262"/>
                  <a:gd name="T75" fmla="*/ 1034 h 1550"/>
                  <a:gd name="T76" fmla="*/ 804 w 1262"/>
                  <a:gd name="T77" fmla="*/ 1048 h 1550"/>
                  <a:gd name="T78" fmla="*/ 760 w 1262"/>
                  <a:gd name="T79" fmla="*/ 1151 h 1550"/>
                  <a:gd name="T80" fmla="*/ 859 w 1262"/>
                  <a:gd name="T81" fmla="*/ 1290 h 1550"/>
                  <a:gd name="T82" fmla="*/ 874 w 1262"/>
                  <a:gd name="T83" fmla="*/ 1212 h 1550"/>
                  <a:gd name="T84" fmla="*/ 931 w 1262"/>
                  <a:gd name="T85" fmla="*/ 1268 h 1550"/>
                  <a:gd name="T86" fmla="*/ 962 w 1262"/>
                  <a:gd name="T87" fmla="*/ 1346 h 1550"/>
                  <a:gd name="T88" fmla="*/ 987 w 1262"/>
                  <a:gd name="T89" fmla="*/ 1415 h 1550"/>
                  <a:gd name="T90" fmla="*/ 1045 w 1262"/>
                  <a:gd name="T91" fmla="*/ 1521 h 1550"/>
                  <a:gd name="T92" fmla="*/ 1133 w 1262"/>
                  <a:gd name="T93" fmla="*/ 1518 h 1550"/>
                  <a:gd name="T94" fmla="*/ 1080 w 1262"/>
                  <a:gd name="T95" fmla="*/ 1532 h 1550"/>
                  <a:gd name="T96" fmla="*/ 977 w 1262"/>
                  <a:gd name="T97" fmla="*/ 1516 h 1550"/>
                  <a:gd name="T98" fmla="*/ 905 w 1262"/>
                  <a:gd name="T99" fmla="*/ 1421 h 1550"/>
                  <a:gd name="T100" fmla="*/ 853 w 1262"/>
                  <a:gd name="T101" fmla="*/ 1385 h 1550"/>
                  <a:gd name="T102" fmla="*/ 769 w 1262"/>
                  <a:gd name="T103" fmla="*/ 1340 h 1550"/>
                  <a:gd name="T104" fmla="*/ 622 w 1262"/>
                  <a:gd name="T105" fmla="*/ 1190 h 1550"/>
                  <a:gd name="T106" fmla="*/ 501 w 1262"/>
                  <a:gd name="T107" fmla="*/ 970 h 1550"/>
                  <a:gd name="T108" fmla="*/ 542 w 1262"/>
                  <a:gd name="T109" fmla="*/ 1167 h 1550"/>
                  <a:gd name="T110" fmla="*/ 464 w 1262"/>
                  <a:gd name="T111" fmla="*/ 1031 h 1550"/>
                  <a:gd name="T112" fmla="*/ 392 w 1262"/>
                  <a:gd name="T113" fmla="*/ 763 h 1550"/>
                  <a:gd name="T114" fmla="*/ 400 w 1262"/>
                  <a:gd name="T115" fmla="*/ 568 h 1550"/>
                  <a:gd name="T116" fmla="*/ 375 w 1262"/>
                  <a:gd name="T117" fmla="*/ 418 h 1550"/>
                  <a:gd name="T118" fmla="*/ 354 w 1262"/>
                  <a:gd name="T119" fmla="*/ 329 h 1550"/>
                  <a:gd name="T120" fmla="*/ 305 w 1262"/>
                  <a:gd name="T121" fmla="*/ 276 h 1550"/>
                  <a:gd name="T122" fmla="*/ 202 w 1262"/>
                  <a:gd name="T123" fmla="*/ 290 h 1550"/>
                  <a:gd name="T124" fmla="*/ 124 w 1262"/>
                  <a:gd name="T125" fmla="*/ 345 h 1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62" h="1550">
                    <a:moveTo>
                      <a:pt x="0" y="398"/>
                    </a:moveTo>
                    <a:lnTo>
                      <a:pt x="60" y="345"/>
                    </a:lnTo>
                    <a:lnTo>
                      <a:pt x="95" y="323"/>
                    </a:lnTo>
                    <a:lnTo>
                      <a:pt x="101" y="290"/>
                    </a:lnTo>
                    <a:lnTo>
                      <a:pt x="74" y="270"/>
                    </a:lnTo>
                    <a:lnTo>
                      <a:pt x="72" y="231"/>
                    </a:lnTo>
                    <a:lnTo>
                      <a:pt x="84" y="220"/>
                    </a:lnTo>
                    <a:lnTo>
                      <a:pt x="82" y="203"/>
                    </a:lnTo>
                    <a:lnTo>
                      <a:pt x="128" y="198"/>
                    </a:lnTo>
                    <a:lnTo>
                      <a:pt x="140" y="167"/>
                    </a:lnTo>
                    <a:lnTo>
                      <a:pt x="142" y="139"/>
                    </a:lnTo>
                    <a:lnTo>
                      <a:pt x="181" y="131"/>
                    </a:lnTo>
                    <a:lnTo>
                      <a:pt x="185" y="103"/>
                    </a:lnTo>
                    <a:lnTo>
                      <a:pt x="148" y="95"/>
                    </a:lnTo>
                    <a:lnTo>
                      <a:pt x="165" y="75"/>
                    </a:lnTo>
                    <a:lnTo>
                      <a:pt x="225" y="75"/>
                    </a:lnTo>
                    <a:lnTo>
                      <a:pt x="243" y="53"/>
                    </a:lnTo>
                    <a:lnTo>
                      <a:pt x="268" y="50"/>
                    </a:lnTo>
                    <a:lnTo>
                      <a:pt x="284" y="33"/>
                    </a:lnTo>
                    <a:lnTo>
                      <a:pt x="303" y="64"/>
                    </a:lnTo>
                    <a:lnTo>
                      <a:pt x="379" y="59"/>
                    </a:lnTo>
                    <a:lnTo>
                      <a:pt x="414" y="92"/>
                    </a:lnTo>
                    <a:lnTo>
                      <a:pt x="527" y="84"/>
                    </a:lnTo>
                    <a:lnTo>
                      <a:pt x="544" y="67"/>
                    </a:lnTo>
                    <a:lnTo>
                      <a:pt x="587" y="95"/>
                    </a:lnTo>
                    <a:lnTo>
                      <a:pt x="631" y="120"/>
                    </a:lnTo>
                    <a:lnTo>
                      <a:pt x="653" y="109"/>
                    </a:lnTo>
                    <a:lnTo>
                      <a:pt x="666" y="95"/>
                    </a:lnTo>
                    <a:lnTo>
                      <a:pt x="703" y="103"/>
                    </a:lnTo>
                    <a:lnTo>
                      <a:pt x="678" y="84"/>
                    </a:lnTo>
                    <a:lnTo>
                      <a:pt x="655" y="86"/>
                    </a:lnTo>
                    <a:lnTo>
                      <a:pt x="620" y="92"/>
                    </a:lnTo>
                    <a:lnTo>
                      <a:pt x="602" y="64"/>
                    </a:lnTo>
                    <a:lnTo>
                      <a:pt x="583" y="50"/>
                    </a:lnTo>
                    <a:lnTo>
                      <a:pt x="583" y="28"/>
                    </a:lnTo>
                    <a:lnTo>
                      <a:pt x="589" y="3"/>
                    </a:lnTo>
                    <a:lnTo>
                      <a:pt x="604" y="0"/>
                    </a:lnTo>
                    <a:lnTo>
                      <a:pt x="626" y="22"/>
                    </a:lnTo>
                    <a:lnTo>
                      <a:pt x="631" y="11"/>
                    </a:lnTo>
                    <a:lnTo>
                      <a:pt x="649" y="0"/>
                    </a:lnTo>
                    <a:lnTo>
                      <a:pt x="670" y="17"/>
                    </a:lnTo>
                    <a:lnTo>
                      <a:pt x="682" y="3"/>
                    </a:lnTo>
                    <a:lnTo>
                      <a:pt x="694" y="25"/>
                    </a:lnTo>
                    <a:lnTo>
                      <a:pt x="696" y="39"/>
                    </a:lnTo>
                    <a:lnTo>
                      <a:pt x="727" y="59"/>
                    </a:lnTo>
                    <a:lnTo>
                      <a:pt x="715" y="75"/>
                    </a:lnTo>
                    <a:lnTo>
                      <a:pt x="715" y="98"/>
                    </a:lnTo>
                    <a:lnTo>
                      <a:pt x="767" y="103"/>
                    </a:lnTo>
                    <a:lnTo>
                      <a:pt x="781" y="75"/>
                    </a:lnTo>
                    <a:lnTo>
                      <a:pt x="771" y="61"/>
                    </a:lnTo>
                    <a:lnTo>
                      <a:pt x="748" y="64"/>
                    </a:lnTo>
                    <a:lnTo>
                      <a:pt x="754" y="33"/>
                    </a:lnTo>
                    <a:lnTo>
                      <a:pt x="801" y="50"/>
                    </a:lnTo>
                    <a:lnTo>
                      <a:pt x="810" y="72"/>
                    </a:lnTo>
                    <a:lnTo>
                      <a:pt x="849" y="72"/>
                    </a:lnTo>
                    <a:lnTo>
                      <a:pt x="884" y="100"/>
                    </a:lnTo>
                    <a:lnTo>
                      <a:pt x="903" y="95"/>
                    </a:lnTo>
                    <a:lnTo>
                      <a:pt x="925" y="120"/>
                    </a:lnTo>
                    <a:lnTo>
                      <a:pt x="903" y="153"/>
                    </a:lnTo>
                    <a:lnTo>
                      <a:pt x="886" y="128"/>
                    </a:lnTo>
                    <a:lnTo>
                      <a:pt x="874" y="137"/>
                    </a:lnTo>
                    <a:lnTo>
                      <a:pt x="859" y="156"/>
                    </a:lnTo>
                    <a:lnTo>
                      <a:pt x="834" y="173"/>
                    </a:lnTo>
                    <a:lnTo>
                      <a:pt x="847" y="198"/>
                    </a:lnTo>
                    <a:lnTo>
                      <a:pt x="824" y="201"/>
                    </a:lnTo>
                    <a:lnTo>
                      <a:pt x="804" y="234"/>
                    </a:lnTo>
                    <a:lnTo>
                      <a:pt x="785" y="276"/>
                    </a:lnTo>
                    <a:lnTo>
                      <a:pt x="814" y="312"/>
                    </a:lnTo>
                    <a:lnTo>
                      <a:pt x="837" y="354"/>
                    </a:lnTo>
                    <a:lnTo>
                      <a:pt x="878" y="359"/>
                    </a:lnTo>
                    <a:lnTo>
                      <a:pt x="917" y="354"/>
                    </a:lnTo>
                    <a:lnTo>
                      <a:pt x="935" y="376"/>
                    </a:lnTo>
                    <a:lnTo>
                      <a:pt x="927" y="387"/>
                    </a:lnTo>
                    <a:lnTo>
                      <a:pt x="915" y="410"/>
                    </a:lnTo>
                    <a:lnTo>
                      <a:pt x="933" y="449"/>
                    </a:lnTo>
                    <a:lnTo>
                      <a:pt x="938" y="476"/>
                    </a:lnTo>
                    <a:lnTo>
                      <a:pt x="960" y="490"/>
                    </a:lnTo>
                    <a:lnTo>
                      <a:pt x="989" y="465"/>
                    </a:lnTo>
                    <a:lnTo>
                      <a:pt x="981" y="429"/>
                    </a:lnTo>
                    <a:lnTo>
                      <a:pt x="956" y="398"/>
                    </a:lnTo>
                    <a:lnTo>
                      <a:pt x="985" y="362"/>
                    </a:lnTo>
                    <a:lnTo>
                      <a:pt x="960" y="301"/>
                    </a:lnTo>
                    <a:lnTo>
                      <a:pt x="937" y="276"/>
                    </a:lnTo>
                    <a:lnTo>
                      <a:pt x="956" y="254"/>
                    </a:lnTo>
                    <a:lnTo>
                      <a:pt x="952" y="220"/>
                    </a:lnTo>
                    <a:lnTo>
                      <a:pt x="966" y="201"/>
                    </a:lnTo>
                    <a:lnTo>
                      <a:pt x="989" y="220"/>
                    </a:lnTo>
                    <a:lnTo>
                      <a:pt x="1043" y="293"/>
                    </a:lnTo>
                    <a:lnTo>
                      <a:pt x="1076" y="304"/>
                    </a:lnTo>
                    <a:lnTo>
                      <a:pt x="1086" y="284"/>
                    </a:lnTo>
                    <a:lnTo>
                      <a:pt x="1078" y="245"/>
                    </a:lnTo>
                    <a:lnTo>
                      <a:pt x="1098" y="251"/>
                    </a:lnTo>
                    <a:lnTo>
                      <a:pt x="1131" y="295"/>
                    </a:lnTo>
                    <a:lnTo>
                      <a:pt x="1137" y="320"/>
                    </a:lnTo>
                    <a:lnTo>
                      <a:pt x="1156" y="337"/>
                    </a:lnTo>
                    <a:lnTo>
                      <a:pt x="1195" y="357"/>
                    </a:lnTo>
                    <a:lnTo>
                      <a:pt x="1214" y="393"/>
                    </a:lnTo>
                    <a:lnTo>
                      <a:pt x="1244" y="418"/>
                    </a:lnTo>
                    <a:lnTo>
                      <a:pt x="1259" y="426"/>
                    </a:lnTo>
                    <a:lnTo>
                      <a:pt x="1261" y="449"/>
                    </a:lnTo>
                    <a:lnTo>
                      <a:pt x="1238" y="462"/>
                    </a:lnTo>
                    <a:lnTo>
                      <a:pt x="1224" y="446"/>
                    </a:lnTo>
                    <a:lnTo>
                      <a:pt x="1212" y="449"/>
                    </a:lnTo>
                    <a:lnTo>
                      <a:pt x="1209" y="485"/>
                    </a:lnTo>
                    <a:lnTo>
                      <a:pt x="1189" y="493"/>
                    </a:lnTo>
                    <a:lnTo>
                      <a:pt x="1168" y="474"/>
                    </a:lnTo>
                    <a:lnTo>
                      <a:pt x="1123" y="474"/>
                    </a:lnTo>
                    <a:lnTo>
                      <a:pt x="1117" y="515"/>
                    </a:lnTo>
                    <a:lnTo>
                      <a:pt x="1129" y="540"/>
                    </a:lnTo>
                    <a:lnTo>
                      <a:pt x="1146" y="527"/>
                    </a:lnTo>
                    <a:lnTo>
                      <a:pt x="1164" y="521"/>
                    </a:lnTo>
                    <a:lnTo>
                      <a:pt x="1181" y="535"/>
                    </a:lnTo>
                    <a:lnTo>
                      <a:pt x="1158" y="566"/>
                    </a:lnTo>
                    <a:lnTo>
                      <a:pt x="1181" y="593"/>
                    </a:lnTo>
                    <a:lnTo>
                      <a:pt x="1212" y="602"/>
                    </a:lnTo>
                    <a:lnTo>
                      <a:pt x="1209" y="618"/>
                    </a:lnTo>
                    <a:lnTo>
                      <a:pt x="1197" y="621"/>
                    </a:lnTo>
                    <a:lnTo>
                      <a:pt x="1168" y="716"/>
                    </a:lnTo>
                    <a:lnTo>
                      <a:pt x="1170" y="655"/>
                    </a:lnTo>
                    <a:lnTo>
                      <a:pt x="1183" y="624"/>
                    </a:lnTo>
                    <a:lnTo>
                      <a:pt x="1168" y="610"/>
                    </a:lnTo>
                    <a:lnTo>
                      <a:pt x="1150" y="630"/>
                    </a:lnTo>
                    <a:lnTo>
                      <a:pt x="1160" y="646"/>
                    </a:lnTo>
                    <a:lnTo>
                      <a:pt x="1146" y="657"/>
                    </a:lnTo>
                    <a:lnTo>
                      <a:pt x="1133" y="671"/>
                    </a:lnTo>
                    <a:lnTo>
                      <a:pt x="1135" y="713"/>
                    </a:lnTo>
                    <a:lnTo>
                      <a:pt x="1115" y="727"/>
                    </a:lnTo>
                    <a:lnTo>
                      <a:pt x="1088" y="730"/>
                    </a:lnTo>
                    <a:lnTo>
                      <a:pt x="1098" y="752"/>
                    </a:lnTo>
                    <a:lnTo>
                      <a:pt x="1088" y="777"/>
                    </a:lnTo>
                    <a:lnTo>
                      <a:pt x="1098" y="797"/>
                    </a:lnTo>
                    <a:lnTo>
                      <a:pt x="1082" y="839"/>
                    </a:lnTo>
                    <a:lnTo>
                      <a:pt x="1076" y="878"/>
                    </a:lnTo>
                    <a:lnTo>
                      <a:pt x="1053" y="900"/>
                    </a:lnTo>
                    <a:lnTo>
                      <a:pt x="1024" y="961"/>
                    </a:lnTo>
                    <a:lnTo>
                      <a:pt x="1020" y="1003"/>
                    </a:lnTo>
                    <a:lnTo>
                      <a:pt x="1030" y="1036"/>
                    </a:lnTo>
                    <a:lnTo>
                      <a:pt x="1043" y="1078"/>
                    </a:lnTo>
                    <a:lnTo>
                      <a:pt x="1051" y="1123"/>
                    </a:lnTo>
                    <a:lnTo>
                      <a:pt x="1038" y="1142"/>
                    </a:lnTo>
                    <a:lnTo>
                      <a:pt x="1020" y="1128"/>
                    </a:lnTo>
                    <a:lnTo>
                      <a:pt x="1024" y="1106"/>
                    </a:lnTo>
                    <a:lnTo>
                      <a:pt x="1014" y="1056"/>
                    </a:lnTo>
                    <a:lnTo>
                      <a:pt x="1003" y="1048"/>
                    </a:lnTo>
                    <a:lnTo>
                      <a:pt x="995" y="1017"/>
                    </a:lnTo>
                    <a:lnTo>
                      <a:pt x="979" y="1017"/>
                    </a:lnTo>
                    <a:lnTo>
                      <a:pt x="962" y="1000"/>
                    </a:lnTo>
                    <a:lnTo>
                      <a:pt x="942" y="1006"/>
                    </a:lnTo>
                    <a:lnTo>
                      <a:pt x="925" y="995"/>
                    </a:lnTo>
                    <a:lnTo>
                      <a:pt x="903" y="1009"/>
                    </a:lnTo>
                    <a:lnTo>
                      <a:pt x="865" y="997"/>
                    </a:lnTo>
                    <a:lnTo>
                      <a:pt x="890" y="1034"/>
                    </a:lnTo>
                    <a:lnTo>
                      <a:pt x="859" y="1031"/>
                    </a:lnTo>
                    <a:lnTo>
                      <a:pt x="837" y="1003"/>
                    </a:lnTo>
                    <a:lnTo>
                      <a:pt x="799" y="1003"/>
                    </a:lnTo>
                    <a:lnTo>
                      <a:pt x="804" y="1048"/>
                    </a:lnTo>
                    <a:lnTo>
                      <a:pt x="775" y="1034"/>
                    </a:lnTo>
                    <a:lnTo>
                      <a:pt x="760" y="1078"/>
                    </a:lnTo>
                    <a:lnTo>
                      <a:pt x="771" y="1098"/>
                    </a:lnTo>
                    <a:lnTo>
                      <a:pt x="760" y="1151"/>
                    </a:lnTo>
                    <a:lnTo>
                      <a:pt x="773" y="1212"/>
                    </a:lnTo>
                    <a:lnTo>
                      <a:pt x="789" y="1254"/>
                    </a:lnTo>
                    <a:lnTo>
                      <a:pt x="806" y="1293"/>
                    </a:lnTo>
                    <a:lnTo>
                      <a:pt x="859" y="1290"/>
                    </a:lnTo>
                    <a:lnTo>
                      <a:pt x="880" y="1282"/>
                    </a:lnTo>
                    <a:lnTo>
                      <a:pt x="884" y="1254"/>
                    </a:lnTo>
                    <a:lnTo>
                      <a:pt x="872" y="1231"/>
                    </a:lnTo>
                    <a:lnTo>
                      <a:pt x="874" y="1212"/>
                    </a:lnTo>
                    <a:lnTo>
                      <a:pt x="907" y="1217"/>
                    </a:lnTo>
                    <a:lnTo>
                      <a:pt x="940" y="1206"/>
                    </a:lnTo>
                    <a:lnTo>
                      <a:pt x="940" y="1231"/>
                    </a:lnTo>
                    <a:lnTo>
                      <a:pt x="931" y="1268"/>
                    </a:lnTo>
                    <a:lnTo>
                      <a:pt x="915" y="1295"/>
                    </a:lnTo>
                    <a:lnTo>
                      <a:pt x="911" y="1334"/>
                    </a:lnTo>
                    <a:lnTo>
                      <a:pt x="933" y="1351"/>
                    </a:lnTo>
                    <a:lnTo>
                      <a:pt x="962" y="1346"/>
                    </a:lnTo>
                    <a:lnTo>
                      <a:pt x="979" y="1360"/>
                    </a:lnTo>
                    <a:lnTo>
                      <a:pt x="995" y="1354"/>
                    </a:lnTo>
                    <a:lnTo>
                      <a:pt x="1001" y="1379"/>
                    </a:lnTo>
                    <a:lnTo>
                      <a:pt x="987" y="1415"/>
                    </a:lnTo>
                    <a:lnTo>
                      <a:pt x="999" y="1438"/>
                    </a:lnTo>
                    <a:lnTo>
                      <a:pt x="1001" y="1482"/>
                    </a:lnTo>
                    <a:lnTo>
                      <a:pt x="1020" y="1513"/>
                    </a:lnTo>
                    <a:lnTo>
                      <a:pt x="1045" y="1521"/>
                    </a:lnTo>
                    <a:lnTo>
                      <a:pt x="1063" y="1513"/>
                    </a:lnTo>
                    <a:lnTo>
                      <a:pt x="1071" y="1516"/>
                    </a:lnTo>
                    <a:lnTo>
                      <a:pt x="1104" y="1516"/>
                    </a:lnTo>
                    <a:lnTo>
                      <a:pt x="1133" y="1518"/>
                    </a:lnTo>
                    <a:lnTo>
                      <a:pt x="1141" y="1499"/>
                    </a:lnTo>
                    <a:lnTo>
                      <a:pt x="1115" y="1532"/>
                    </a:lnTo>
                    <a:lnTo>
                      <a:pt x="1098" y="1529"/>
                    </a:lnTo>
                    <a:lnTo>
                      <a:pt x="1080" y="1532"/>
                    </a:lnTo>
                    <a:lnTo>
                      <a:pt x="1045" y="1549"/>
                    </a:lnTo>
                    <a:lnTo>
                      <a:pt x="1016" y="1527"/>
                    </a:lnTo>
                    <a:lnTo>
                      <a:pt x="989" y="1513"/>
                    </a:lnTo>
                    <a:lnTo>
                      <a:pt x="977" y="1516"/>
                    </a:lnTo>
                    <a:lnTo>
                      <a:pt x="979" y="1496"/>
                    </a:lnTo>
                    <a:lnTo>
                      <a:pt x="977" y="1465"/>
                    </a:lnTo>
                    <a:lnTo>
                      <a:pt x="954" y="1438"/>
                    </a:lnTo>
                    <a:lnTo>
                      <a:pt x="905" y="1421"/>
                    </a:lnTo>
                    <a:lnTo>
                      <a:pt x="898" y="1410"/>
                    </a:lnTo>
                    <a:lnTo>
                      <a:pt x="884" y="1412"/>
                    </a:lnTo>
                    <a:lnTo>
                      <a:pt x="870" y="1399"/>
                    </a:lnTo>
                    <a:lnTo>
                      <a:pt x="853" y="1385"/>
                    </a:lnTo>
                    <a:lnTo>
                      <a:pt x="830" y="1346"/>
                    </a:lnTo>
                    <a:lnTo>
                      <a:pt x="802" y="1334"/>
                    </a:lnTo>
                    <a:lnTo>
                      <a:pt x="787" y="1360"/>
                    </a:lnTo>
                    <a:lnTo>
                      <a:pt x="769" y="1340"/>
                    </a:lnTo>
                    <a:lnTo>
                      <a:pt x="748" y="1340"/>
                    </a:lnTo>
                    <a:lnTo>
                      <a:pt x="705" y="1326"/>
                    </a:lnTo>
                    <a:lnTo>
                      <a:pt x="628" y="1259"/>
                    </a:lnTo>
                    <a:lnTo>
                      <a:pt x="622" y="1190"/>
                    </a:lnTo>
                    <a:lnTo>
                      <a:pt x="614" y="1162"/>
                    </a:lnTo>
                    <a:lnTo>
                      <a:pt x="600" y="1142"/>
                    </a:lnTo>
                    <a:lnTo>
                      <a:pt x="583" y="1103"/>
                    </a:lnTo>
                    <a:lnTo>
                      <a:pt x="501" y="970"/>
                    </a:lnTo>
                    <a:lnTo>
                      <a:pt x="501" y="1020"/>
                    </a:lnTo>
                    <a:lnTo>
                      <a:pt x="552" y="1109"/>
                    </a:lnTo>
                    <a:lnTo>
                      <a:pt x="573" y="1184"/>
                    </a:lnTo>
                    <a:lnTo>
                      <a:pt x="542" y="1167"/>
                    </a:lnTo>
                    <a:lnTo>
                      <a:pt x="536" y="1123"/>
                    </a:lnTo>
                    <a:lnTo>
                      <a:pt x="495" y="1095"/>
                    </a:lnTo>
                    <a:lnTo>
                      <a:pt x="519" y="1078"/>
                    </a:lnTo>
                    <a:lnTo>
                      <a:pt x="464" y="1031"/>
                    </a:lnTo>
                    <a:lnTo>
                      <a:pt x="486" y="1003"/>
                    </a:lnTo>
                    <a:lnTo>
                      <a:pt x="466" y="947"/>
                    </a:lnTo>
                    <a:lnTo>
                      <a:pt x="400" y="830"/>
                    </a:lnTo>
                    <a:lnTo>
                      <a:pt x="392" y="763"/>
                    </a:lnTo>
                    <a:lnTo>
                      <a:pt x="396" y="713"/>
                    </a:lnTo>
                    <a:lnTo>
                      <a:pt x="414" y="657"/>
                    </a:lnTo>
                    <a:lnTo>
                      <a:pt x="414" y="602"/>
                    </a:lnTo>
                    <a:lnTo>
                      <a:pt x="400" y="568"/>
                    </a:lnTo>
                    <a:lnTo>
                      <a:pt x="437" y="557"/>
                    </a:lnTo>
                    <a:lnTo>
                      <a:pt x="392" y="490"/>
                    </a:lnTo>
                    <a:lnTo>
                      <a:pt x="394" y="460"/>
                    </a:lnTo>
                    <a:lnTo>
                      <a:pt x="375" y="418"/>
                    </a:lnTo>
                    <a:lnTo>
                      <a:pt x="383" y="393"/>
                    </a:lnTo>
                    <a:lnTo>
                      <a:pt x="369" y="379"/>
                    </a:lnTo>
                    <a:lnTo>
                      <a:pt x="367" y="351"/>
                    </a:lnTo>
                    <a:lnTo>
                      <a:pt x="354" y="329"/>
                    </a:lnTo>
                    <a:lnTo>
                      <a:pt x="369" y="309"/>
                    </a:lnTo>
                    <a:lnTo>
                      <a:pt x="348" y="295"/>
                    </a:lnTo>
                    <a:lnTo>
                      <a:pt x="330" y="315"/>
                    </a:lnTo>
                    <a:lnTo>
                      <a:pt x="305" y="276"/>
                    </a:lnTo>
                    <a:lnTo>
                      <a:pt x="278" y="265"/>
                    </a:lnTo>
                    <a:lnTo>
                      <a:pt x="239" y="265"/>
                    </a:lnTo>
                    <a:lnTo>
                      <a:pt x="214" y="301"/>
                    </a:lnTo>
                    <a:lnTo>
                      <a:pt x="202" y="290"/>
                    </a:lnTo>
                    <a:lnTo>
                      <a:pt x="223" y="242"/>
                    </a:lnTo>
                    <a:lnTo>
                      <a:pt x="204" y="251"/>
                    </a:lnTo>
                    <a:lnTo>
                      <a:pt x="165" y="301"/>
                    </a:lnTo>
                    <a:lnTo>
                      <a:pt x="124" y="345"/>
                    </a:lnTo>
                    <a:lnTo>
                      <a:pt x="87" y="357"/>
                    </a:lnTo>
                    <a:lnTo>
                      <a:pt x="25" y="401"/>
                    </a:lnTo>
                    <a:lnTo>
                      <a:pt x="0" y="398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0" name="Freeform 36"/>
              <p:cNvSpPr>
                <a:spLocks/>
              </p:cNvSpPr>
              <p:nvPr/>
            </p:nvSpPr>
            <p:spPr bwMode="auto">
              <a:xfrm>
                <a:off x="994" y="615"/>
                <a:ext cx="429" cy="408"/>
              </a:xfrm>
              <a:custGeom>
                <a:avLst/>
                <a:gdLst>
                  <a:gd name="T0" fmla="*/ 0 w 429"/>
                  <a:gd name="T1" fmla="*/ 84 h 408"/>
                  <a:gd name="T2" fmla="*/ 10 w 429"/>
                  <a:gd name="T3" fmla="*/ 53 h 408"/>
                  <a:gd name="T4" fmla="*/ 10 w 429"/>
                  <a:gd name="T5" fmla="*/ 31 h 408"/>
                  <a:gd name="T6" fmla="*/ 25 w 429"/>
                  <a:gd name="T7" fmla="*/ 0 h 408"/>
                  <a:gd name="T8" fmla="*/ 103 w 429"/>
                  <a:gd name="T9" fmla="*/ 20 h 408"/>
                  <a:gd name="T10" fmla="*/ 236 w 429"/>
                  <a:gd name="T11" fmla="*/ 56 h 408"/>
                  <a:gd name="T12" fmla="*/ 289 w 429"/>
                  <a:gd name="T13" fmla="*/ 86 h 408"/>
                  <a:gd name="T14" fmla="*/ 358 w 429"/>
                  <a:gd name="T15" fmla="*/ 114 h 408"/>
                  <a:gd name="T16" fmla="*/ 393 w 429"/>
                  <a:gd name="T17" fmla="*/ 167 h 408"/>
                  <a:gd name="T18" fmla="*/ 428 w 429"/>
                  <a:gd name="T19" fmla="*/ 192 h 408"/>
                  <a:gd name="T20" fmla="*/ 414 w 429"/>
                  <a:gd name="T21" fmla="*/ 212 h 408"/>
                  <a:gd name="T22" fmla="*/ 414 w 429"/>
                  <a:gd name="T23" fmla="*/ 237 h 408"/>
                  <a:gd name="T24" fmla="*/ 401 w 429"/>
                  <a:gd name="T25" fmla="*/ 243 h 408"/>
                  <a:gd name="T26" fmla="*/ 389 w 429"/>
                  <a:gd name="T27" fmla="*/ 265 h 408"/>
                  <a:gd name="T28" fmla="*/ 401 w 429"/>
                  <a:gd name="T29" fmla="*/ 287 h 408"/>
                  <a:gd name="T30" fmla="*/ 399 w 429"/>
                  <a:gd name="T31" fmla="*/ 304 h 408"/>
                  <a:gd name="T32" fmla="*/ 385 w 429"/>
                  <a:gd name="T33" fmla="*/ 326 h 408"/>
                  <a:gd name="T34" fmla="*/ 387 w 429"/>
                  <a:gd name="T35" fmla="*/ 348 h 408"/>
                  <a:gd name="T36" fmla="*/ 411 w 429"/>
                  <a:gd name="T37" fmla="*/ 371 h 408"/>
                  <a:gd name="T38" fmla="*/ 413 w 429"/>
                  <a:gd name="T39" fmla="*/ 393 h 408"/>
                  <a:gd name="T40" fmla="*/ 407 w 429"/>
                  <a:gd name="T41" fmla="*/ 404 h 408"/>
                  <a:gd name="T42" fmla="*/ 383 w 429"/>
                  <a:gd name="T43" fmla="*/ 407 h 408"/>
                  <a:gd name="T44" fmla="*/ 366 w 429"/>
                  <a:gd name="T45" fmla="*/ 396 h 408"/>
                  <a:gd name="T46" fmla="*/ 347 w 429"/>
                  <a:gd name="T47" fmla="*/ 368 h 408"/>
                  <a:gd name="T48" fmla="*/ 339 w 429"/>
                  <a:gd name="T49" fmla="*/ 368 h 408"/>
                  <a:gd name="T50" fmla="*/ 329 w 429"/>
                  <a:gd name="T51" fmla="*/ 357 h 408"/>
                  <a:gd name="T52" fmla="*/ 320 w 429"/>
                  <a:gd name="T53" fmla="*/ 323 h 408"/>
                  <a:gd name="T54" fmla="*/ 308 w 429"/>
                  <a:gd name="T55" fmla="*/ 312 h 408"/>
                  <a:gd name="T56" fmla="*/ 283 w 429"/>
                  <a:gd name="T57" fmla="*/ 295 h 408"/>
                  <a:gd name="T58" fmla="*/ 261 w 429"/>
                  <a:gd name="T59" fmla="*/ 284 h 408"/>
                  <a:gd name="T60" fmla="*/ 230 w 429"/>
                  <a:gd name="T61" fmla="*/ 254 h 408"/>
                  <a:gd name="T62" fmla="*/ 217 w 429"/>
                  <a:gd name="T63" fmla="*/ 231 h 408"/>
                  <a:gd name="T64" fmla="*/ 219 w 429"/>
                  <a:gd name="T65" fmla="*/ 215 h 408"/>
                  <a:gd name="T66" fmla="*/ 232 w 429"/>
                  <a:gd name="T67" fmla="*/ 201 h 408"/>
                  <a:gd name="T68" fmla="*/ 221 w 429"/>
                  <a:gd name="T69" fmla="*/ 184 h 408"/>
                  <a:gd name="T70" fmla="*/ 209 w 429"/>
                  <a:gd name="T71" fmla="*/ 192 h 408"/>
                  <a:gd name="T72" fmla="*/ 190 w 429"/>
                  <a:gd name="T73" fmla="*/ 167 h 408"/>
                  <a:gd name="T74" fmla="*/ 186 w 429"/>
                  <a:gd name="T75" fmla="*/ 181 h 408"/>
                  <a:gd name="T76" fmla="*/ 168 w 429"/>
                  <a:gd name="T77" fmla="*/ 181 h 408"/>
                  <a:gd name="T78" fmla="*/ 165 w 429"/>
                  <a:gd name="T79" fmla="*/ 170 h 408"/>
                  <a:gd name="T80" fmla="*/ 165 w 429"/>
                  <a:gd name="T81" fmla="*/ 151 h 408"/>
                  <a:gd name="T82" fmla="*/ 157 w 429"/>
                  <a:gd name="T83" fmla="*/ 139 h 408"/>
                  <a:gd name="T84" fmla="*/ 145 w 429"/>
                  <a:gd name="T85" fmla="*/ 142 h 408"/>
                  <a:gd name="T86" fmla="*/ 130 w 429"/>
                  <a:gd name="T87" fmla="*/ 112 h 408"/>
                  <a:gd name="T88" fmla="*/ 118 w 429"/>
                  <a:gd name="T89" fmla="*/ 109 h 408"/>
                  <a:gd name="T90" fmla="*/ 101 w 429"/>
                  <a:gd name="T91" fmla="*/ 95 h 408"/>
                  <a:gd name="T92" fmla="*/ 64 w 429"/>
                  <a:gd name="T93" fmla="*/ 98 h 408"/>
                  <a:gd name="T94" fmla="*/ 27 w 429"/>
                  <a:gd name="T95" fmla="*/ 95 h 408"/>
                  <a:gd name="T96" fmla="*/ 0 w 429"/>
                  <a:gd name="T97" fmla="*/ 84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9" h="408">
                    <a:moveTo>
                      <a:pt x="0" y="84"/>
                    </a:moveTo>
                    <a:lnTo>
                      <a:pt x="10" y="53"/>
                    </a:lnTo>
                    <a:lnTo>
                      <a:pt x="10" y="31"/>
                    </a:lnTo>
                    <a:lnTo>
                      <a:pt x="25" y="0"/>
                    </a:lnTo>
                    <a:lnTo>
                      <a:pt x="103" y="20"/>
                    </a:lnTo>
                    <a:lnTo>
                      <a:pt x="236" y="56"/>
                    </a:lnTo>
                    <a:lnTo>
                      <a:pt x="289" y="86"/>
                    </a:lnTo>
                    <a:lnTo>
                      <a:pt x="358" y="114"/>
                    </a:lnTo>
                    <a:lnTo>
                      <a:pt x="393" y="167"/>
                    </a:lnTo>
                    <a:lnTo>
                      <a:pt x="428" y="192"/>
                    </a:lnTo>
                    <a:lnTo>
                      <a:pt x="414" y="212"/>
                    </a:lnTo>
                    <a:lnTo>
                      <a:pt x="414" y="237"/>
                    </a:lnTo>
                    <a:lnTo>
                      <a:pt x="401" y="243"/>
                    </a:lnTo>
                    <a:lnTo>
                      <a:pt x="389" y="265"/>
                    </a:lnTo>
                    <a:lnTo>
                      <a:pt x="401" y="287"/>
                    </a:lnTo>
                    <a:lnTo>
                      <a:pt x="399" y="304"/>
                    </a:lnTo>
                    <a:lnTo>
                      <a:pt x="385" y="326"/>
                    </a:lnTo>
                    <a:lnTo>
                      <a:pt x="387" y="348"/>
                    </a:lnTo>
                    <a:lnTo>
                      <a:pt x="411" y="371"/>
                    </a:lnTo>
                    <a:lnTo>
                      <a:pt x="413" y="393"/>
                    </a:lnTo>
                    <a:lnTo>
                      <a:pt x="407" y="404"/>
                    </a:lnTo>
                    <a:lnTo>
                      <a:pt x="383" y="407"/>
                    </a:lnTo>
                    <a:lnTo>
                      <a:pt x="366" y="396"/>
                    </a:lnTo>
                    <a:lnTo>
                      <a:pt x="347" y="368"/>
                    </a:lnTo>
                    <a:lnTo>
                      <a:pt x="339" y="368"/>
                    </a:lnTo>
                    <a:lnTo>
                      <a:pt x="329" y="357"/>
                    </a:lnTo>
                    <a:lnTo>
                      <a:pt x="320" y="323"/>
                    </a:lnTo>
                    <a:lnTo>
                      <a:pt x="308" y="312"/>
                    </a:lnTo>
                    <a:lnTo>
                      <a:pt x="283" y="295"/>
                    </a:lnTo>
                    <a:lnTo>
                      <a:pt x="261" y="284"/>
                    </a:lnTo>
                    <a:lnTo>
                      <a:pt x="230" y="254"/>
                    </a:lnTo>
                    <a:lnTo>
                      <a:pt x="217" y="231"/>
                    </a:lnTo>
                    <a:lnTo>
                      <a:pt x="219" y="215"/>
                    </a:lnTo>
                    <a:lnTo>
                      <a:pt x="232" y="201"/>
                    </a:lnTo>
                    <a:lnTo>
                      <a:pt x="221" y="184"/>
                    </a:lnTo>
                    <a:lnTo>
                      <a:pt x="209" y="192"/>
                    </a:lnTo>
                    <a:lnTo>
                      <a:pt x="190" y="167"/>
                    </a:lnTo>
                    <a:lnTo>
                      <a:pt x="186" y="181"/>
                    </a:lnTo>
                    <a:lnTo>
                      <a:pt x="168" y="181"/>
                    </a:lnTo>
                    <a:lnTo>
                      <a:pt x="165" y="170"/>
                    </a:lnTo>
                    <a:lnTo>
                      <a:pt x="165" y="151"/>
                    </a:lnTo>
                    <a:lnTo>
                      <a:pt x="157" y="139"/>
                    </a:lnTo>
                    <a:lnTo>
                      <a:pt x="145" y="142"/>
                    </a:lnTo>
                    <a:lnTo>
                      <a:pt x="130" y="112"/>
                    </a:lnTo>
                    <a:lnTo>
                      <a:pt x="118" y="109"/>
                    </a:lnTo>
                    <a:lnTo>
                      <a:pt x="101" y="95"/>
                    </a:lnTo>
                    <a:lnTo>
                      <a:pt x="64" y="98"/>
                    </a:lnTo>
                    <a:lnTo>
                      <a:pt x="27" y="95"/>
                    </a:lnTo>
                    <a:lnTo>
                      <a:pt x="0" y="84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1" name="Freeform 37"/>
              <p:cNvSpPr>
                <a:spLocks/>
              </p:cNvSpPr>
              <p:nvPr/>
            </p:nvSpPr>
            <p:spPr bwMode="auto">
              <a:xfrm>
                <a:off x="908" y="758"/>
                <a:ext cx="274" cy="210"/>
              </a:xfrm>
              <a:custGeom>
                <a:avLst/>
                <a:gdLst>
                  <a:gd name="T0" fmla="*/ 10 w 274"/>
                  <a:gd name="T1" fmla="*/ 0 h 210"/>
                  <a:gd name="T2" fmla="*/ 0 w 274"/>
                  <a:gd name="T3" fmla="*/ 17 h 210"/>
                  <a:gd name="T4" fmla="*/ 0 w 274"/>
                  <a:gd name="T5" fmla="*/ 36 h 210"/>
                  <a:gd name="T6" fmla="*/ 19 w 274"/>
                  <a:gd name="T7" fmla="*/ 56 h 210"/>
                  <a:gd name="T8" fmla="*/ 31 w 274"/>
                  <a:gd name="T9" fmla="*/ 50 h 210"/>
                  <a:gd name="T10" fmla="*/ 35 w 274"/>
                  <a:gd name="T11" fmla="*/ 59 h 210"/>
                  <a:gd name="T12" fmla="*/ 46 w 274"/>
                  <a:gd name="T13" fmla="*/ 61 h 210"/>
                  <a:gd name="T14" fmla="*/ 54 w 274"/>
                  <a:gd name="T15" fmla="*/ 47 h 210"/>
                  <a:gd name="T16" fmla="*/ 81 w 274"/>
                  <a:gd name="T17" fmla="*/ 50 h 210"/>
                  <a:gd name="T18" fmla="*/ 85 w 274"/>
                  <a:gd name="T19" fmla="*/ 64 h 210"/>
                  <a:gd name="T20" fmla="*/ 94 w 274"/>
                  <a:gd name="T21" fmla="*/ 70 h 210"/>
                  <a:gd name="T22" fmla="*/ 117 w 274"/>
                  <a:gd name="T23" fmla="*/ 67 h 210"/>
                  <a:gd name="T24" fmla="*/ 125 w 274"/>
                  <a:gd name="T25" fmla="*/ 75 h 210"/>
                  <a:gd name="T26" fmla="*/ 137 w 274"/>
                  <a:gd name="T27" fmla="*/ 84 h 210"/>
                  <a:gd name="T28" fmla="*/ 146 w 274"/>
                  <a:gd name="T29" fmla="*/ 100 h 210"/>
                  <a:gd name="T30" fmla="*/ 146 w 274"/>
                  <a:gd name="T31" fmla="*/ 123 h 210"/>
                  <a:gd name="T32" fmla="*/ 138 w 274"/>
                  <a:gd name="T33" fmla="*/ 128 h 210"/>
                  <a:gd name="T34" fmla="*/ 142 w 274"/>
                  <a:gd name="T35" fmla="*/ 137 h 210"/>
                  <a:gd name="T36" fmla="*/ 131 w 274"/>
                  <a:gd name="T37" fmla="*/ 150 h 210"/>
                  <a:gd name="T38" fmla="*/ 131 w 274"/>
                  <a:gd name="T39" fmla="*/ 170 h 210"/>
                  <a:gd name="T40" fmla="*/ 148 w 274"/>
                  <a:gd name="T41" fmla="*/ 173 h 210"/>
                  <a:gd name="T42" fmla="*/ 158 w 274"/>
                  <a:gd name="T43" fmla="*/ 167 h 210"/>
                  <a:gd name="T44" fmla="*/ 161 w 274"/>
                  <a:gd name="T45" fmla="*/ 159 h 210"/>
                  <a:gd name="T46" fmla="*/ 167 w 274"/>
                  <a:gd name="T47" fmla="*/ 167 h 210"/>
                  <a:gd name="T48" fmla="*/ 177 w 274"/>
                  <a:gd name="T49" fmla="*/ 162 h 210"/>
                  <a:gd name="T50" fmla="*/ 198 w 274"/>
                  <a:gd name="T51" fmla="*/ 173 h 210"/>
                  <a:gd name="T52" fmla="*/ 211 w 274"/>
                  <a:gd name="T53" fmla="*/ 192 h 210"/>
                  <a:gd name="T54" fmla="*/ 215 w 274"/>
                  <a:gd name="T55" fmla="*/ 192 h 210"/>
                  <a:gd name="T56" fmla="*/ 217 w 274"/>
                  <a:gd name="T57" fmla="*/ 203 h 210"/>
                  <a:gd name="T58" fmla="*/ 231 w 274"/>
                  <a:gd name="T59" fmla="*/ 209 h 210"/>
                  <a:gd name="T60" fmla="*/ 246 w 274"/>
                  <a:gd name="T61" fmla="*/ 209 h 210"/>
                  <a:gd name="T62" fmla="*/ 236 w 274"/>
                  <a:gd name="T63" fmla="*/ 198 h 210"/>
                  <a:gd name="T64" fmla="*/ 240 w 274"/>
                  <a:gd name="T65" fmla="*/ 187 h 210"/>
                  <a:gd name="T66" fmla="*/ 252 w 274"/>
                  <a:gd name="T67" fmla="*/ 198 h 210"/>
                  <a:gd name="T68" fmla="*/ 265 w 274"/>
                  <a:gd name="T69" fmla="*/ 201 h 210"/>
                  <a:gd name="T70" fmla="*/ 267 w 274"/>
                  <a:gd name="T71" fmla="*/ 184 h 210"/>
                  <a:gd name="T72" fmla="*/ 254 w 274"/>
                  <a:gd name="T73" fmla="*/ 170 h 210"/>
                  <a:gd name="T74" fmla="*/ 244 w 274"/>
                  <a:gd name="T75" fmla="*/ 170 h 210"/>
                  <a:gd name="T76" fmla="*/ 231 w 274"/>
                  <a:gd name="T77" fmla="*/ 156 h 210"/>
                  <a:gd name="T78" fmla="*/ 244 w 274"/>
                  <a:gd name="T79" fmla="*/ 156 h 210"/>
                  <a:gd name="T80" fmla="*/ 254 w 274"/>
                  <a:gd name="T81" fmla="*/ 164 h 210"/>
                  <a:gd name="T82" fmla="*/ 273 w 274"/>
                  <a:gd name="T83" fmla="*/ 164 h 210"/>
                  <a:gd name="T84" fmla="*/ 269 w 274"/>
                  <a:gd name="T85" fmla="*/ 148 h 210"/>
                  <a:gd name="T86" fmla="*/ 252 w 274"/>
                  <a:gd name="T87" fmla="*/ 131 h 210"/>
                  <a:gd name="T88" fmla="*/ 240 w 274"/>
                  <a:gd name="T89" fmla="*/ 128 h 210"/>
                  <a:gd name="T90" fmla="*/ 223 w 274"/>
                  <a:gd name="T91" fmla="*/ 109 h 210"/>
                  <a:gd name="T92" fmla="*/ 202 w 274"/>
                  <a:gd name="T93" fmla="*/ 103 h 210"/>
                  <a:gd name="T94" fmla="*/ 185 w 274"/>
                  <a:gd name="T95" fmla="*/ 95 h 210"/>
                  <a:gd name="T96" fmla="*/ 171 w 274"/>
                  <a:gd name="T97" fmla="*/ 70 h 210"/>
                  <a:gd name="T98" fmla="*/ 161 w 274"/>
                  <a:gd name="T99" fmla="*/ 39 h 210"/>
                  <a:gd name="T100" fmla="*/ 148 w 274"/>
                  <a:gd name="T101" fmla="*/ 39 h 210"/>
                  <a:gd name="T102" fmla="*/ 144 w 274"/>
                  <a:gd name="T103" fmla="*/ 31 h 210"/>
                  <a:gd name="T104" fmla="*/ 137 w 274"/>
                  <a:gd name="T105" fmla="*/ 33 h 210"/>
                  <a:gd name="T106" fmla="*/ 123 w 274"/>
                  <a:gd name="T107" fmla="*/ 20 h 210"/>
                  <a:gd name="T108" fmla="*/ 100 w 274"/>
                  <a:gd name="T109" fmla="*/ 14 h 210"/>
                  <a:gd name="T110" fmla="*/ 90 w 274"/>
                  <a:gd name="T111" fmla="*/ 22 h 210"/>
                  <a:gd name="T112" fmla="*/ 69 w 274"/>
                  <a:gd name="T113" fmla="*/ 14 h 210"/>
                  <a:gd name="T114" fmla="*/ 56 w 274"/>
                  <a:gd name="T115" fmla="*/ 14 h 210"/>
                  <a:gd name="T116" fmla="*/ 50 w 274"/>
                  <a:gd name="T117" fmla="*/ 3 h 210"/>
                  <a:gd name="T118" fmla="*/ 44 w 274"/>
                  <a:gd name="T119" fmla="*/ 0 h 210"/>
                  <a:gd name="T120" fmla="*/ 35 w 274"/>
                  <a:gd name="T121" fmla="*/ 3 h 210"/>
                  <a:gd name="T122" fmla="*/ 10 w 274"/>
                  <a:gd name="T12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210">
                    <a:moveTo>
                      <a:pt x="10" y="0"/>
                    </a:moveTo>
                    <a:lnTo>
                      <a:pt x="0" y="17"/>
                    </a:lnTo>
                    <a:lnTo>
                      <a:pt x="0" y="36"/>
                    </a:lnTo>
                    <a:lnTo>
                      <a:pt x="19" y="56"/>
                    </a:lnTo>
                    <a:lnTo>
                      <a:pt x="31" y="50"/>
                    </a:lnTo>
                    <a:lnTo>
                      <a:pt x="35" y="59"/>
                    </a:lnTo>
                    <a:lnTo>
                      <a:pt x="46" y="61"/>
                    </a:lnTo>
                    <a:lnTo>
                      <a:pt x="54" y="47"/>
                    </a:lnTo>
                    <a:lnTo>
                      <a:pt x="81" y="50"/>
                    </a:lnTo>
                    <a:lnTo>
                      <a:pt x="85" y="64"/>
                    </a:lnTo>
                    <a:lnTo>
                      <a:pt x="94" y="70"/>
                    </a:lnTo>
                    <a:lnTo>
                      <a:pt x="117" y="67"/>
                    </a:lnTo>
                    <a:lnTo>
                      <a:pt x="125" y="75"/>
                    </a:lnTo>
                    <a:lnTo>
                      <a:pt x="137" y="84"/>
                    </a:lnTo>
                    <a:lnTo>
                      <a:pt x="146" y="100"/>
                    </a:lnTo>
                    <a:lnTo>
                      <a:pt x="146" y="123"/>
                    </a:lnTo>
                    <a:lnTo>
                      <a:pt x="138" y="128"/>
                    </a:lnTo>
                    <a:lnTo>
                      <a:pt x="142" y="137"/>
                    </a:lnTo>
                    <a:lnTo>
                      <a:pt x="131" y="150"/>
                    </a:lnTo>
                    <a:lnTo>
                      <a:pt x="131" y="170"/>
                    </a:lnTo>
                    <a:lnTo>
                      <a:pt x="148" y="173"/>
                    </a:lnTo>
                    <a:lnTo>
                      <a:pt x="158" y="167"/>
                    </a:lnTo>
                    <a:lnTo>
                      <a:pt x="161" y="159"/>
                    </a:lnTo>
                    <a:lnTo>
                      <a:pt x="167" y="167"/>
                    </a:lnTo>
                    <a:lnTo>
                      <a:pt x="177" y="162"/>
                    </a:lnTo>
                    <a:lnTo>
                      <a:pt x="198" y="173"/>
                    </a:lnTo>
                    <a:lnTo>
                      <a:pt x="211" y="192"/>
                    </a:lnTo>
                    <a:lnTo>
                      <a:pt x="215" y="192"/>
                    </a:lnTo>
                    <a:lnTo>
                      <a:pt x="217" y="203"/>
                    </a:lnTo>
                    <a:lnTo>
                      <a:pt x="231" y="209"/>
                    </a:lnTo>
                    <a:lnTo>
                      <a:pt x="246" y="209"/>
                    </a:lnTo>
                    <a:lnTo>
                      <a:pt x="236" y="198"/>
                    </a:lnTo>
                    <a:lnTo>
                      <a:pt x="240" y="187"/>
                    </a:lnTo>
                    <a:lnTo>
                      <a:pt x="252" y="198"/>
                    </a:lnTo>
                    <a:lnTo>
                      <a:pt x="265" y="201"/>
                    </a:lnTo>
                    <a:lnTo>
                      <a:pt x="267" y="184"/>
                    </a:lnTo>
                    <a:lnTo>
                      <a:pt x="254" y="170"/>
                    </a:lnTo>
                    <a:lnTo>
                      <a:pt x="244" y="170"/>
                    </a:lnTo>
                    <a:lnTo>
                      <a:pt x="231" y="156"/>
                    </a:lnTo>
                    <a:lnTo>
                      <a:pt x="244" y="156"/>
                    </a:lnTo>
                    <a:lnTo>
                      <a:pt x="254" y="164"/>
                    </a:lnTo>
                    <a:lnTo>
                      <a:pt x="273" y="164"/>
                    </a:lnTo>
                    <a:lnTo>
                      <a:pt x="269" y="148"/>
                    </a:lnTo>
                    <a:lnTo>
                      <a:pt x="252" y="131"/>
                    </a:lnTo>
                    <a:lnTo>
                      <a:pt x="240" y="128"/>
                    </a:lnTo>
                    <a:lnTo>
                      <a:pt x="223" y="109"/>
                    </a:lnTo>
                    <a:lnTo>
                      <a:pt x="202" y="103"/>
                    </a:lnTo>
                    <a:lnTo>
                      <a:pt x="185" y="95"/>
                    </a:lnTo>
                    <a:lnTo>
                      <a:pt x="171" y="70"/>
                    </a:lnTo>
                    <a:lnTo>
                      <a:pt x="161" y="39"/>
                    </a:lnTo>
                    <a:lnTo>
                      <a:pt x="148" y="39"/>
                    </a:lnTo>
                    <a:lnTo>
                      <a:pt x="144" y="31"/>
                    </a:lnTo>
                    <a:lnTo>
                      <a:pt x="137" y="33"/>
                    </a:lnTo>
                    <a:lnTo>
                      <a:pt x="123" y="20"/>
                    </a:lnTo>
                    <a:lnTo>
                      <a:pt x="100" y="14"/>
                    </a:lnTo>
                    <a:lnTo>
                      <a:pt x="90" y="22"/>
                    </a:lnTo>
                    <a:lnTo>
                      <a:pt x="69" y="14"/>
                    </a:lnTo>
                    <a:lnTo>
                      <a:pt x="56" y="14"/>
                    </a:lnTo>
                    <a:lnTo>
                      <a:pt x="50" y="3"/>
                    </a:lnTo>
                    <a:lnTo>
                      <a:pt x="44" y="0"/>
                    </a:lnTo>
                    <a:lnTo>
                      <a:pt x="35" y="3"/>
                    </a:lnTo>
                    <a:lnTo>
                      <a:pt x="10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2" name="Freeform 38"/>
              <p:cNvSpPr>
                <a:spLocks/>
              </p:cNvSpPr>
              <p:nvPr/>
            </p:nvSpPr>
            <p:spPr bwMode="auto">
              <a:xfrm>
                <a:off x="1064" y="1925"/>
                <a:ext cx="195" cy="98"/>
              </a:xfrm>
              <a:custGeom>
                <a:avLst/>
                <a:gdLst>
                  <a:gd name="T0" fmla="*/ 0 w 195"/>
                  <a:gd name="T1" fmla="*/ 49 h 98"/>
                  <a:gd name="T2" fmla="*/ 17 w 195"/>
                  <a:gd name="T3" fmla="*/ 20 h 98"/>
                  <a:gd name="T4" fmla="*/ 25 w 195"/>
                  <a:gd name="T5" fmla="*/ 20 h 98"/>
                  <a:gd name="T6" fmla="*/ 38 w 195"/>
                  <a:gd name="T7" fmla="*/ 6 h 98"/>
                  <a:gd name="T8" fmla="*/ 54 w 195"/>
                  <a:gd name="T9" fmla="*/ 6 h 98"/>
                  <a:gd name="T10" fmla="*/ 58 w 195"/>
                  <a:gd name="T11" fmla="*/ 3 h 98"/>
                  <a:gd name="T12" fmla="*/ 63 w 195"/>
                  <a:gd name="T13" fmla="*/ 0 h 98"/>
                  <a:gd name="T14" fmla="*/ 83 w 195"/>
                  <a:gd name="T15" fmla="*/ 17 h 98"/>
                  <a:gd name="T16" fmla="*/ 88 w 195"/>
                  <a:gd name="T17" fmla="*/ 29 h 98"/>
                  <a:gd name="T18" fmla="*/ 92 w 195"/>
                  <a:gd name="T19" fmla="*/ 23 h 98"/>
                  <a:gd name="T20" fmla="*/ 108 w 195"/>
                  <a:gd name="T21" fmla="*/ 34 h 98"/>
                  <a:gd name="T22" fmla="*/ 117 w 195"/>
                  <a:gd name="T23" fmla="*/ 34 h 98"/>
                  <a:gd name="T24" fmla="*/ 125 w 195"/>
                  <a:gd name="T25" fmla="*/ 43 h 98"/>
                  <a:gd name="T26" fmla="*/ 138 w 195"/>
                  <a:gd name="T27" fmla="*/ 49 h 98"/>
                  <a:gd name="T28" fmla="*/ 138 w 195"/>
                  <a:gd name="T29" fmla="*/ 63 h 98"/>
                  <a:gd name="T30" fmla="*/ 163 w 195"/>
                  <a:gd name="T31" fmla="*/ 63 h 98"/>
                  <a:gd name="T32" fmla="*/ 169 w 195"/>
                  <a:gd name="T33" fmla="*/ 77 h 98"/>
                  <a:gd name="T34" fmla="*/ 184 w 195"/>
                  <a:gd name="T35" fmla="*/ 77 h 98"/>
                  <a:gd name="T36" fmla="*/ 194 w 195"/>
                  <a:gd name="T37" fmla="*/ 94 h 98"/>
                  <a:gd name="T38" fmla="*/ 188 w 195"/>
                  <a:gd name="T39" fmla="*/ 97 h 98"/>
                  <a:gd name="T40" fmla="*/ 184 w 195"/>
                  <a:gd name="T41" fmla="*/ 91 h 98"/>
                  <a:gd name="T42" fmla="*/ 182 w 195"/>
                  <a:gd name="T43" fmla="*/ 88 h 98"/>
                  <a:gd name="T44" fmla="*/ 169 w 195"/>
                  <a:gd name="T45" fmla="*/ 91 h 98"/>
                  <a:gd name="T46" fmla="*/ 165 w 195"/>
                  <a:gd name="T47" fmla="*/ 94 h 98"/>
                  <a:gd name="T48" fmla="*/ 154 w 195"/>
                  <a:gd name="T49" fmla="*/ 97 h 98"/>
                  <a:gd name="T50" fmla="*/ 136 w 195"/>
                  <a:gd name="T51" fmla="*/ 97 h 98"/>
                  <a:gd name="T52" fmla="*/ 125 w 195"/>
                  <a:gd name="T53" fmla="*/ 97 h 98"/>
                  <a:gd name="T54" fmla="*/ 125 w 195"/>
                  <a:gd name="T55" fmla="*/ 88 h 98"/>
                  <a:gd name="T56" fmla="*/ 108 w 195"/>
                  <a:gd name="T57" fmla="*/ 66 h 98"/>
                  <a:gd name="T58" fmla="*/ 108 w 195"/>
                  <a:gd name="T59" fmla="*/ 51 h 98"/>
                  <a:gd name="T60" fmla="*/ 88 w 195"/>
                  <a:gd name="T61" fmla="*/ 51 h 98"/>
                  <a:gd name="T62" fmla="*/ 81 w 195"/>
                  <a:gd name="T63" fmla="*/ 43 h 98"/>
                  <a:gd name="T64" fmla="*/ 75 w 195"/>
                  <a:gd name="T65" fmla="*/ 51 h 98"/>
                  <a:gd name="T66" fmla="*/ 69 w 195"/>
                  <a:gd name="T67" fmla="*/ 40 h 98"/>
                  <a:gd name="T68" fmla="*/ 63 w 195"/>
                  <a:gd name="T69" fmla="*/ 40 h 98"/>
                  <a:gd name="T70" fmla="*/ 63 w 195"/>
                  <a:gd name="T71" fmla="*/ 26 h 98"/>
                  <a:gd name="T72" fmla="*/ 58 w 195"/>
                  <a:gd name="T73" fmla="*/ 20 h 98"/>
                  <a:gd name="T74" fmla="*/ 40 w 195"/>
                  <a:gd name="T75" fmla="*/ 23 h 98"/>
                  <a:gd name="T76" fmla="*/ 29 w 195"/>
                  <a:gd name="T77" fmla="*/ 40 h 98"/>
                  <a:gd name="T78" fmla="*/ 15 w 195"/>
                  <a:gd name="T79" fmla="*/ 43 h 98"/>
                  <a:gd name="T80" fmla="*/ 0 w 195"/>
                  <a:gd name="T81" fmla="*/ 4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5" h="98">
                    <a:moveTo>
                      <a:pt x="0" y="49"/>
                    </a:moveTo>
                    <a:lnTo>
                      <a:pt x="17" y="20"/>
                    </a:lnTo>
                    <a:lnTo>
                      <a:pt x="25" y="20"/>
                    </a:lnTo>
                    <a:lnTo>
                      <a:pt x="38" y="6"/>
                    </a:lnTo>
                    <a:lnTo>
                      <a:pt x="54" y="6"/>
                    </a:lnTo>
                    <a:lnTo>
                      <a:pt x="58" y="3"/>
                    </a:lnTo>
                    <a:lnTo>
                      <a:pt x="63" y="0"/>
                    </a:lnTo>
                    <a:lnTo>
                      <a:pt x="83" y="17"/>
                    </a:lnTo>
                    <a:lnTo>
                      <a:pt x="88" y="29"/>
                    </a:lnTo>
                    <a:lnTo>
                      <a:pt x="92" y="23"/>
                    </a:lnTo>
                    <a:lnTo>
                      <a:pt x="108" y="34"/>
                    </a:lnTo>
                    <a:lnTo>
                      <a:pt x="117" y="34"/>
                    </a:lnTo>
                    <a:lnTo>
                      <a:pt x="125" y="43"/>
                    </a:lnTo>
                    <a:lnTo>
                      <a:pt x="138" y="49"/>
                    </a:lnTo>
                    <a:lnTo>
                      <a:pt x="138" y="63"/>
                    </a:lnTo>
                    <a:lnTo>
                      <a:pt x="163" y="63"/>
                    </a:lnTo>
                    <a:lnTo>
                      <a:pt x="169" y="77"/>
                    </a:lnTo>
                    <a:lnTo>
                      <a:pt x="184" y="77"/>
                    </a:lnTo>
                    <a:lnTo>
                      <a:pt x="194" y="94"/>
                    </a:lnTo>
                    <a:lnTo>
                      <a:pt x="188" y="97"/>
                    </a:lnTo>
                    <a:lnTo>
                      <a:pt x="184" y="91"/>
                    </a:lnTo>
                    <a:lnTo>
                      <a:pt x="182" y="88"/>
                    </a:lnTo>
                    <a:lnTo>
                      <a:pt x="169" y="91"/>
                    </a:lnTo>
                    <a:lnTo>
                      <a:pt x="165" y="94"/>
                    </a:lnTo>
                    <a:lnTo>
                      <a:pt x="154" y="97"/>
                    </a:lnTo>
                    <a:lnTo>
                      <a:pt x="136" y="97"/>
                    </a:lnTo>
                    <a:lnTo>
                      <a:pt x="125" y="97"/>
                    </a:lnTo>
                    <a:lnTo>
                      <a:pt x="125" y="88"/>
                    </a:lnTo>
                    <a:lnTo>
                      <a:pt x="108" y="66"/>
                    </a:lnTo>
                    <a:lnTo>
                      <a:pt x="108" y="51"/>
                    </a:lnTo>
                    <a:lnTo>
                      <a:pt x="88" y="51"/>
                    </a:lnTo>
                    <a:lnTo>
                      <a:pt x="81" y="43"/>
                    </a:lnTo>
                    <a:lnTo>
                      <a:pt x="75" y="51"/>
                    </a:lnTo>
                    <a:lnTo>
                      <a:pt x="69" y="40"/>
                    </a:lnTo>
                    <a:lnTo>
                      <a:pt x="63" y="40"/>
                    </a:lnTo>
                    <a:lnTo>
                      <a:pt x="63" y="26"/>
                    </a:lnTo>
                    <a:lnTo>
                      <a:pt x="58" y="20"/>
                    </a:lnTo>
                    <a:lnTo>
                      <a:pt x="40" y="23"/>
                    </a:lnTo>
                    <a:lnTo>
                      <a:pt x="29" y="40"/>
                    </a:lnTo>
                    <a:lnTo>
                      <a:pt x="15" y="43"/>
                    </a:lnTo>
                    <a:lnTo>
                      <a:pt x="0" y="49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3" name="Freeform 39"/>
              <p:cNvSpPr>
                <a:spLocks/>
              </p:cNvSpPr>
              <p:nvPr/>
            </p:nvSpPr>
            <p:spPr bwMode="auto">
              <a:xfrm>
                <a:off x="1234" y="1995"/>
                <a:ext cx="129" cy="83"/>
              </a:xfrm>
              <a:custGeom>
                <a:avLst/>
                <a:gdLst>
                  <a:gd name="T0" fmla="*/ 0 w 129"/>
                  <a:gd name="T1" fmla="*/ 62 h 83"/>
                  <a:gd name="T2" fmla="*/ 12 w 129"/>
                  <a:gd name="T3" fmla="*/ 65 h 83"/>
                  <a:gd name="T4" fmla="*/ 40 w 129"/>
                  <a:gd name="T5" fmla="*/ 62 h 83"/>
                  <a:gd name="T6" fmla="*/ 52 w 129"/>
                  <a:gd name="T7" fmla="*/ 79 h 83"/>
                  <a:gd name="T8" fmla="*/ 68 w 129"/>
                  <a:gd name="T9" fmla="*/ 82 h 83"/>
                  <a:gd name="T10" fmla="*/ 76 w 129"/>
                  <a:gd name="T11" fmla="*/ 62 h 83"/>
                  <a:gd name="T12" fmla="*/ 72 w 129"/>
                  <a:gd name="T13" fmla="*/ 57 h 83"/>
                  <a:gd name="T14" fmla="*/ 80 w 129"/>
                  <a:gd name="T15" fmla="*/ 48 h 83"/>
                  <a:gd name="T16" fmla="*/ 96 w 129"/>
                  <a:gd name="T17" fmla="*/ 62 h 83"/>
                  <a:gd name="T18" fmla="*/ 108 w 129"/>
                  <a:gd name="T19" fmla="*/ 62 h 83"/>
                  <a:gd name="T20" fmla="*/ 108 w 129"/>
                  <a:gd name="T21" fmla="*/ 54 h 83"/>
                  <a:gd name="T22" fmla="*/ 116 w 129"/>
                  <a:gd name="T23" fmla="*/ 54 h 83"/>
                  <a:gd name="T24" fmla="*/ 128 w 129"/>
                  <a:gd name="T25" fmla="*/ 40 h 83"/>
                  <a:gd name="T26" fmla="*/ 120 w 129"/>
                  <a:gd name="T27" fmla="*/ 37 h 83"/>
                  <a:gd name="T28" fmla="*/ 120 w 129"/>
                  <a:gd name="T29" fmla="*/ 23 h 83"/>
                  <a:gd name="T30" fmla="*/ 120 w 129"/>
                  <a:gd name="T31" fmla="*/ 11 h 83"/>
                  <a:gd name="T32" fmla="*/ 102 w 129"/>
                  <a:gd name="T33" fmla="*/ 8 h 83"/>
                  <a:gd name="T34" fmla="*/ 88 w 129"/>
                  <a:gd name="T35" fmla="*/ 11 h 83"/>
                  <a:gd name="T36" fmla="*/ 76 w 129"/>
                  <a:gd name="T37" fmla="*/ 11 h 83"/>
                  <a:gd name="T38" fmla="*/ 58 w 129"/>
                  <a:gd name="T39" fmla="*/ 8 h 83"/>
                  <a:gd name="T40" fmla="*/ 44 w 129"/>
                  <a:gd name="T41" fmla="*/ 0 h 83"/>
                  <a:gd name="T42" fmla="*/ 40 w 129"/>
                  <a:gd name="T43" fmla="*/ 8 h 83"/>
                  <a:gd name="T44" fmla="*/ 38 w 129"/>
                  <a:gd name="T45" fmla="*/ 25 h 83"/>
                  <a:gd name="T46" fmla="*/ 24 w 129"/>
                  <a:gd name="T47" fmla="*/ 25 h 83"/>
                  <a:gd name="T48" fmla="*/ 20 w 129"/>
                  <a:gd name="T49" fmla="*/ 40 h 83"/>
                  <a:gd name="T50" fmla="*/ 12 w 129"/>
                  <a:gd name="T51" fmla="*/ 45 h 83"/>
                  <a:gd name="T52" fmla="*/ 0 w 129"/>
                  <a:gd name="T53" fmla="*/ 6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9" h="83">
                    <a:moveTo>
                      <a:pt x="0" y="62"/>
                    </a:moveTo>
                    <a:lnTo>
                      <a:pt x="12" y="65"/>
                    </a:lnTo>
                    <a:lnTo>
                      <a:pt x="40" y="62"/>
                    </a:lnTo>
                    <a:lnTo>
                      <a:pt x="52" y="79"/>
                    </a:lnTo>
                    <a:lnTo>
                      <a:pt x="68" y="82"/>
                    </a:lnTo>
                    <a:lnTo>
                      <a:pt x="76" y="62"/>
                    </a:lnTo>
                    <a:lnTo>
                      <a:pt x="72" y="57"/>
                    </a:lnTo>
                    <a:lnTo>
                      <a:pt x="80" y="48"/>
                    </a:lnTo>
                    <a:lnTo>
                      <a:pt x="96" y="62"/>
                    </a:lnTo>
                    <a:lnTo>
                      <a:pt x="108" y="62"/>
                    </a:lnTo>
                    <a:lnTo>
                      <a:pt x="108" y="54"/>
                    </a:lnTo>
                    <a:lnTo>
                      <a:pt x="116" y="54"/>
                    </a:lnTo>
                    <a:lnTo>
                      <a:pt x="128" y="40"/>
                    </a:lnTo>
                    <a:lnTo>
                      <a:pt x="120" y="37"/>
                    </a:lnTo>
                    <a:lnTo>
                      <a:pt x="120" y="23"/>
                    </a:lnTo>
                    <a:lnTo>
                      <a:pt x="120" y="11"/>
                    </a:lnTo>
                    <a:lnTo>
                      <a:pt x="102" y="8"/>
                    </a:lnTo>
                    <a:lnTo>
                      <a:pt x="88" y="11"/>
                    </a:lnTo>
                    <a:lnTo>
                      <a:pt x="76" y="11"/>
                    </a:lnTo>
                    <a:lnTo>
                      <a:pt x="58" y="8"/>
                    </a:lnTo>
                    <a:lnTo>
                      <a:pt x="44" y="0"/>
                    </a:lnTo>
                    <a:lnTo>
                      <a:pt x="40" y="8"/>
                    </a:lnTo>
                    <a:lnTo>
                      <a:pt x="38" y="25"/>
                    </a:lnTo>
                    <a:lnTo>
                      <a:pt x="24" y="25"/>
                    </a:lnTo>
                    <a:lnTo>
                      <a:pt x="20" y="40"/>
                    </a:lnTo>
                    <a:lnTo>
                      <a:pt x="12" y="45"/>
                    </a:lnTo>
                    <a:lnTo>
                      <a:pt x="0" y="62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4" name="Freeform 40"/>
              <p:cNvSpPr>
                <a:spLocks/>
              </p:cNvSpPr>
              <p:nvPr/>
            </p:nvSpPr>
            <p:spPr bwMode="auto">
              <a:xfrm>
                <a:off x="1155" y="2228"/>
                <a:ext cx="802" cy="1698"/>
              </a:xfrm>
              <a:custGeom>
                <a:avLst/>
                <a:gdLst>
                  <a:gd name="T0" fmla="*/ 92 w 802"/>
                  <a:gd name="T1" fmla="*/ 28 h 1698"/>
                  <a:gd name="T2" fmla="*/ 152 w 802"/>
                  <a:gd name="T3" fmla="*/ 3 h 1698"/>
                  <a:gd name="T4" fmla="*/ 127 w 802"/>
                  <a:gd name="T5" fmla="*/ 59 h 1698"/>
                  <a:gd name="T6" fmla="*/ 152 w 802"/>
                  <a:gd name="T7" fmla="*/ 56 h 1698"/>
                  <a:gd name="T8" fmla="*/ 177 w 802"/>
                  <a:gd name="T9" fmla="*/ 53 h 1698"/>
                  <a:gd name="T10" fmla="*/ 212 w 802"/>
                  <a:gd name="T11" fmla="*/ 73 h 1698"/>
                  <a:gd name="T12" fmla="*/ 322 w 802"/>
                  <a:gd name="T13" fmla="*/ 103 h 1698"/>
                  <a:gd name="T14" fmla="*/ 372 w 802"/>
                  <a:gd name="T15" fmla="*/ 134 h 1698"/>
                  <a:gd name="T16" fmla="*/ 437 w 802"/>
                  <a:gd name="T17" fmla="*/ 151 h 1698"/>
                  <a:gd name="T18" fmla="*/ 530 w 802"/>
                  <a:gd name="T19" fmla="*/ 234 h 1698"/>
                  <a:gd name="T20" fmla="*/ 581 w 802"/>
                  <a:gd name="T21" fmla="*/ 338 h 1698"/>
                  <a:gd name="T22" fmla="*/ 780 w 802"/>
                  <a:gd name="T23" fmla="*/ 424 h 1698"/>
                  <a:gd name="T24" fmla="*/ 782 w 802"/>
                  <a:gd name="T25" fmla="*/ 567 h 1698"/>
                  <a:gd name="T26" fmla="*/ 731 w 802"/>
                  <a:gd name="T27" fmla="*/ 642 h 1698"/>
                  <a:gd name="T28" fmla="*/ 723 w 802"/>
                  <a:gd name="T29" fmla="*/ 751 h 1698"/>
                  <a:gd name="T30" fmla="*/ 694 w 802"/>
                  <a:gd name="T31" fmla="*/ 798 h 1698"/>
                  <a:gd name="T32" fmla="*/ 647 w 802"/>
                  <a:gd name="T33" fmla="*/ 879 h 1698"/>
                  <a:gd name="T34" fmla="*/ 579 w 802"/>
                  <a:gd name="T35" fmla="*/ 907 h 1698"/>
                  <a:gd name="T36" fmla="*/ 544 w 802"/>
                  <a:gd name="T37" fmla="*/ 991 h 1698"/>
                  <a:gd name="T38" fmla="*/ 536 w 802"/>
                  <a:gd name="T39" fmla="*/ 1061 h 1698"/>
                  <a:gd name="T40" fmla="*/ 481 w 802"/>
                  <a:gd name="T41" fmla="*/ 1125 h 1698"/>
                  <a:gd name="T42" fmla="*/ 448 w 802"/>
                  <a:gd name="T43" fmla="*/ 1175 h 1698"/>
                  <a:gd name="T44" fmla="*/ 427 w 802"/>
                  <a:gd name="T45" fmla="*/ 1200 h 1698"/>
                  <a:gd name="T46" fmla="*/ 415 w 802"/>
                  <a:gd name="T47" fmla="*/ 1267 h 1698"/>
                  <a:gd name="T48" fmla="*/ 361 w 802"/>
                  <a:gd name="T49" fmla="*/ 1295 h 1698"/>
                  <a:gd name="T50" fmla="*/ 318 w 802"/>
                  <a:gd name="T51" fmla="*/ 1323 h 1698"/>
                  <a:gd name="T52" fmla="*/ 316 w 802"/>
                  <a:gd name="T53" fmla="*/ 1387 h 1698"/>
                  <a:gd name="T54" fmla="*/ 275 w 802"/>
                  <a:gd name="T55" fmla="*/ 1437 h 1698"/>
                  <a:gd name="T56" fmla="*/ 300 w 802"/>
                  <a:gd name="T57" fmla="*/ 1482 h 1698"/>
                  <a:gd name="T58" fmla="*/ 259 w 802"/>
                  <a:gd name="T59" fmla="*/ 1524 h 1698"/>
                  <a:gd name="T60" fmla="*/ 238 w 802"/>
                  <a:gd name="T61" fmla="*/ 1597 h 1698"/>
                  <a:gd name="T62" fmla="*/ 292 w 802"/>
                  <a:gd name="T63" fmla="*/ 1697 h 1698"/>
                  <a:gd name="T64" fmla="*/ 228 w 802"/>
                  <a:gd name="T65" fmla="*/ 1647 h 1698"/>
                  <a:gd name="T66" fmla="*/ 187 w 802"/>
                  <a:gd name="T67" fmla="*/ 1557 h 1698"/>
                  <a:gd name="T68" fmla="*/ 183 w 802"/>
                  <a:gd name="T69" fmla="*/ 1323 h 1698"/>
                  <a:gd name="T70" fmla="*/ 177 w 802"/>
                  <a:gd name="T71" fmla="*/ 1223 h 1698"/>
                  <a:gd name="T72" fmla="*/ 181 w 802"/>
                  <a:gd name="T73" fmla="*/ 1114 h 1698"/>
                  <a:gd name="T74" fmla="*/ 189 w 802"/>
                  <a:gd name="T75" fmla="*/ 1027 h 1698"/>
                  <a:gd name="T76" fmla="*/ 185 w 802"/>
                  <a:gd name="T77" fmla="*/ 888 h 1698"/>
                  <a:gd name="T78" fmla="*/ 191 w 802"/>
                  <a:gd name="T79" fmla="*/ 773 h 1698"/>
                  <a:gd name="T80" fmla="*/ 144 w 802"/>
                  <a:gd name="T81" fmla="*/ 695 h 1698"/>
                  <a:gd name="T82" fmla="*/ 72 w 802"/>
                  <a:gd name="T83" fmla="*/ 634 h 1698"/>
                  <a:gd name="T84" fmla="*/ 47 w 802"/>
                  <a:gd name="T85" fmla="*/ 539 h 1698"/>
                  <a:gd name="T86" fmla="*/ 14 w 802"/>
                  <a:gd name="T87" fmla="*/ 486 h 1698"/>
                  <a:gd name="T88" fmla="*/ 16 w 802"/>
                  <a:gd name="T89" fmla="*/ 396 h 1698"/>
                  <a:gd name="T90" fmla="*/ 8 w 802"/>
                  <a:gd name="T91" fmla="*/ 310 h 1698"/>
                  <a:gd name="T92" fmla="*/ 58 w 802"/>
                  <a:gd name="T93" fmla="*/ 140 h 1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02" h="1698">
                    <a:moveTo>
                      <a:pt x="62" y="75"/>
                    </a:moveTo>
                    <a:lnTo>
                      <a:pt x="72" y="56"/>
                    </a:lnTo>
                    <a:lnTo>
                      <a:pt x="92" y="28"/>
                    </a:lnTo>
                    <a:lnTo>
                      <a:pt x="121" y="11"/>
                    </a:lnTo>
                    <a:lnTo>
                      <a:pt x="136" y="0"/>
                    </a:lnTo>
                    <a:lnTo>
                      <a:pt x="152" y="3"/>
                    </a:lnTo>
                    <a:lnTo>
                      <a:pt x="148" y="17"/>
                    </a:lnTo>
                    <a:lnTo>
                      <a:pt x="131" y="31"/>
                    </a:lnTo>
                    <a:lnTo>
                      <a:pt x="127" y="59"/>
                    </a:lnTo>
                    <a:lnTo>
                      <a:pt x="131" y="81"/>
                    </a:lnTo>
                    <a:lnTo>
                      <a:pt x="146" y="81"/>
                    </a:lnTo>
                    <a:lnTo>
                      <a:pt x="152" y="56"/>
                    </a:lnTo>
                    <a:lnTo>
                      <a:pt x="156" y="31"/>
                    </a:lnTo>
                    <a:lnTo>
                      <a:pt x="166" y="39"/>
                    </a:lnTo>
                    <a:lnTo>
                      <a:pt x="177" y="53"/>
                    </a:lnTo>
                    <a:lnTo>
                      <a:pt x="197" y="47"/>
                    </a:lnTo>
                    <a:lnTo>
                      <a:pt x="209" y="59"/>
                    </a:lnTo>
                    <a:lnTo>
                      <a:pt x="212" y="73"/>
                    </a:lnTo>
                    <a:lnTo>
                      <a:pt x="242" y="67"/>
                    </a:lnTo>
                    <a:lnTo>
                      <a:pt x="300" y="59"/>
                    </a:lnTo>
                    <a:lnTo>
                      <a:pt x="322" y="103"/>
                    </a:lnTo>
                    <a:lnTo>
                      <a:pt x="359" y="126"/>
                    </a:lnTo>
                    <a:lnTo>
                      <a:pt x="357" y="145"/>
                    </a:lnTo>
                    <a:lnTo>
                      <a:pt x="372" y="134"/>
                    </a:lnTo>
                    <a:lnTo>
                      <a:pt x="390" y="134"/>
                    </a:lnTo>
                    <a:lnTo>
                      <a:pt x="411" y="154"/>
                    </a:lnTo>
                    <a:lnTo>
                      <a:pt x="437" y="151"/>
                    </a:lnTo>
                    <a:lnTo>
                      <a:pt x="458" y="154"/>
                    </a:lnTo>
                    <a:lnTo>
                      <a:pt x="493" y="190"/>
                    </a:lnTo>
                    <a:lnTo>
                      <a:pt x="530" y="234"/>
                    </a:lnTo>
                    <a:lnTo>
                      <a:pt x="546" y="285"/>
                    </a:lnTo>
                    <a:lnTo>
                      <a:pt x="536" y="324"/>
                    </a:lnTo>
                    <a:lnTo>
                      <a:pt x="581" y="338"/>
                    </a:lnTo>
                    <a:lnTo>
                      <a:pt x="655" y="357"/>
                    </a:lnTo>
                    <a:lnTo>
                      <a:pt x="731" y="380"/>
                    </a:lnTo>
                    <a:lnTo>
                      <a:pt x="780" y="424"/>
                    </a:lnTo>
                    <a:lnTo>
                      <a:pt x="801" y="466"/>
                    </a:lnTo>
                    <a:lnTo>
                      <a:pt x="801" y="519"/>
                    </a:lnTo>
                    <a:lnTo>
                      <a:pt x="782" y="567"/>
                    </a:lnTo>
                    <a:lnTo>
                      <a:pt x="760" y="592"/>
                    </a:lnTo>
                    <a:lnTo>
                      <a:pt x="746" y="608"/>
                    </a:lnTo>
                    <a:lnTo>
                      <a:pt x="731" y="642"/>
                    </a:lnTo>
                    <a:lnTo>
                      <a:pt x="729" y="673"/>
                    </a:lnTo>
                    <a:lnTo>
                      <a:pt x="731" y="712"/>
                    </a:lnTo>
                    <a:lnTo>
                      <a:pt x="723" y="751"/>
                    </a:lnTo>
                    <a:lnTo>
                      <a:pt x="711" y="759"/>
                    </a:lnTo>
                    <a:lnTo>
                      <a:pt x="707" y="782"/>
                    </a:lnTo>
                    <a:lnTo>
                      <a:pt x="694" y="798"/>
                    </a:lnTo>
                    <a:lnTo>
                      <a:pt x="692" y="818"/>
                    </a:lnTo>
                    <a:lnTo>
                      <a:pt x="674" y="840"/>
                    </a:lnTo>
                    <a:lnTo>
                      <a:pt x="647" y="879"/>
                    </a:lnTo>
                    <a:lnTo>
                      <a:pt x="624" y="890"/>
                    </a:lnTo>
                    <a:lnTo>
                      <a:pt x="608" y="888"/>
                    </a:lnTo>
                    <a:lnTo>
                      <a:pt x="579" y="907"/>
                    </a:lnTo>
                    <a:lnTo>
                      <a:pt x="550" y="952"/>
                    </a:lnTo>
                    <a:lnTo>
                      <a:pt x="544" y="969"/>
                    </a:lnTo>
                    <a:lnTo>
                      <a:pt x="544" y="991"/>
                    </a:lnTo>
                    <a:lnTo>
                      <a:pt x="550" y="1016"/>
                    </a:lnTo>
                    <a:lnTo>
                      <a:pt x="536" y="1041"/>
                    </a:lnTo>
                    <a:lnTo>
                      <a:pt x="536" y="1061"/>
                    </a:lnTo>
                    <a:lnTo>
                      <a:pt x="513" y="1083"/>
                    </a:lnTo>
                    <a:lnTo>
                      <a:pt x="495" y="1100"/>
                    </a:lnTo>
                    <a:lnTo>
                      <a:pt x="481" y="1125"/>
                    </a:lnTo>
                    <a:lnTo>
                      <a:pt x="476" y="1150"/>
                    </a:lnTo>
                    <a:lnTo>
                      <a:pt x="456" y="1181"/>
                    </a:lnTo>
                    <a:lnTo>
                      <a:pt x="448" y="1175"/>
                    </a:lnTo>
                    <a:lnTo>
                      <a:pt x="433" y="1175"/>
                    </a:lnTo>
                    <a:lnTo>
                      <a:pt x="413" y="1186"/>
                    </a:lnTo>
                    <a:lnTo>
                      <a:pt x="427" y="1200"/>
                    </a:lnTo>
                    <a:lnTo>
                      <a:pt x="427" y="1228"/>
                    </a:lnTo>
                    <a:lnTo>
                      <a:pt x="425" y="1250"/>
                    </a:lnTo>
                    <a:lnTo>
                      <a:pt x="415" y="1267"/>
                    </a:lnTo>
                    <a:lnTo>
                      <a:pt x="390" y="1270"/>
                    </a:lnTo>
                    <a:lnTo>
                      <a:pt x="370" y="1278"/>
                    </a:lnTo>
                    <a:lnTo>
                      <a:pt x="361" y="1295"/>
                    </a:lnTo>
                    <a:lnTo>
                      <a:pt x="361" y="1323"/>
                    </a:lnTo>
                    <a:lnTo>
                      <a:pt x="337" y="1326"/>
                    </a:lnTo>
                    <a:lnTo>
                      <a:pt x="318" y="1323"/>
                    </a:lnTo>
                    <a:lnTo>
                      <a:pt x="312" y="1334"/>
                    </a:lnTo>
                    <a:lnTo>
                      <a:pt x="322" y="1345"/>
                    </a:lnTo>
                    <a:lnTo>
                      <a:pt x="316" y="1387"/>
                    </a:lnTo>
                    <a:lnTo>
                      <a:pt x="308" y="1423"/>
                    </a:lnTo>
                    <a:lnTo>
                      <a:pt x="283" y="1423"/>
                    </a:lnTo>
                    <a:lnTo>
                      <a:pt x="275" y="1437"/>
                    </a:lnTo>
                    <a:lnTo>
                      <a:pt x="277" y="1465"/>
                    </a:lnTo>
                    <a:lnTo>
                      <a:pt x="290" y="1465"/>
                    </a:lnTo>
                    <a:lnTo>
                      <a:pt x="300" y="1482"/>
                    </a:lnTo>
                    <a:lnTo>
                      <a:pt x="294" y="1510"/>
                    </a:lnTo>
                    <a:lnTo>
                      <a:pt x="281" y="1513"/>
                    </a:lnTo>
                    <a:lnTo>
                      <a:pt x="259" y="1524"/>
                    </a:lnTo>
                    <a:lnTo>
                      <a:pt x="253" y="1546"/>
                    </a:lnTo>
                    <a:lnTo>
                      <a:pt x="251" y="1580"/>
                    </a:lnTo>
                    <a:lnTo>
                      <a:pt x="238" y="1597"/>
                    </a:lnTo>
                    <a:lnTo>
                      <a:pt x="286" y="1652"/>
                    </a:lnTo>
                    <a:lnTo>
                      <a:pt x="300" y="1680"/>
                    </a:lnTo>
                    <a:lnTo>
                      <a:pt x="292" y="1697"/>
                    </a:lnTo>
                    <a:lnTo>
                      <a:pt x="271" y="1686"/>
                    </a:lnTo>
                    <a:lnTo>
                      <a:pt x="253" y="1664"/>
                    </a:lnTo>
                    <a:lnTo>
                      <a:pt x="228" y="1647"/>
                    </a:lnTo>
                    <a:lnTo>
                      <a:pt x="205" y="1619"/>
                    </a:lnTo>
                    <a:lnTo>
                      <a:pt x="189" y="1585"/>
                    </a:lnTo>
                    <a:lnTo>
                      <a:pt x="187" y="1557"/>
                    </a:lnTo>
                    <a:lnTo>
                      <a:pt x="191" y="1535"/>
                    </a:lnTo>
                    <a:lnTo>
                      <a:pt x="189" y="1354"/>
                    </a:lnTo>
                    <a:lnTo>
                      <a:pt x="183" y="1323"/>
                    </a:lnTo>
                    <a:lnTo>
                      <a:pt x="166" y="1289"/>
                    </a:lnTo>
                    <a:lnTo>
                      <a:pt x="166" y="1259"/>
                    </a:lnTo>
                    <a:lnTo>
                      <a:pt x="177" y="1223"/>
                    </a:lnTo>
                    <a:lnTo>
                      <a:pt x="187" y="1178"/>
                    </a:lnTo>
                    <a:lnTo>
                      <a:pt x="183" y="1133"/>
                    </a:lnTo>
                    <a:lnTo>
                      <a:pt x="181" y="1114"/>
                    </a:lnTo>
                    <a:lnTo>
                      <a:pt x="179" y="1089"/>
                    </a:lnTo>
                    <a:lnTo>
                      <a:pt x="185" y="1077"/>
                    </a:lnTo>
                    <a:lnTo>
                      <a:pt x="189" y="1027"/>
                    </a:lnTo>
                    <a:lnTo>
                      <a:pt x="185" y="1002"/>
                    </a:lnTo>
                    <a:lnTo>
                      <a:pt x="193" y="941"/>
                    </a:lnTo>
                    <a:lnTo>
                      <a:pt x="185" y="888"/>
                    </a:lnTo>
                    <a:lnTo>
                      <a:pt x="191" y="860"/>
                    </a:lnTo>
                    <a:lnTo>
                      <a:pt x="201" y="807"/>
                    </a:lnTo>
                    <a:lnTo>
                      <a:pt x="191" y="773"/>
                    </a:lnTo>
                    <a:lnTo>
                      <a:pt x="172" y="748"/>
                    </a:lnTo>
                    <a:lnTo>
                      <a:pt x="166" y="720"/>
                    </a:lnTo>
                    <a:lnTo>
                      <a:pt x="144" y="695"/>
                    </a:lnTo>
                    <a:lnTo>
                      <a:pt x="121" y="678"/>
                    </a:lnTo>
                    <a:lnTo>
                      <a:pt x="88" y="670"/>
                    </a:lnTo>
                    <a:lnTo>
                      <a:pt x="72" y="634"/>
                    </a:lnTo>
                    <a:lnTo>
                      <a:pt x="51" y="597"/>
                    </a:lnTo>
                    <a:lnTo>
                      <a:pt x="49" y="567"/>
                    </a:lnTo>
                    <a:lnTo>
                      <a:pt x="47" y="539"/>
                    </a:lnTo>
                    <a:lnTo>
                      <a:pt x="41" y="519"/>
                    </a:lnTo>
                    <a:lnTo>
                      <a:pt x="29" y="497"/>
                    </a:lnTo>
                    <a:lnTo>
                      <a:pt x="14" y="486"/>
                    </a:lnTo>
                    <a:lnTo>
                      <a:pt x="2" y="463"/>
                    </a:lnTo>
                    <a:lnTo>
                      <a:pt x="16" y="444"/>
                    </a:lnTo>
                    <a:lnTo>
                      <a:pt x="16" y="396"/>
                    </a:lnTo>
                    <a:lnTo>
                      <a:pt x="8" y="371"/>
                    </a:lnTo>
                    <a:lnTo>
                      <a:pt x="0" y="346"/>
                    </a:lnTo>
                    <a:lnTo>
                      <a:pt x="8" y="310"/>
                    </a:lnTo>
                    <a:lnTo>
                      <a:pt x="39" y="220"/>
                    </a:lnTo>
                    <a:lnTo>
                      <a:pt x="41" y="181"/>
                    </a:lnTo>
                    <a:lnTo>
                      <a:pt x="58" y="140"/>
                    </a:lnTo>
                    <a:lnTo>
                      <a:pt x="58" y="117"/>
                    </a:lnTo>
                    <a:lnTo>
                      <a:pt x="62" y="75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</p:grpSp>
      <p:sp>
        <p:nvSpPr>
          <p:cNvPr id="1067" name="Rectangle 43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609600"/>
            <a:ext cx="8915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1068" name="Rectangle 4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98120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1069" name="Rectangle 45"/>
          <p:cNvSpPr>
            <a:spLocks noChangeArrowheads="1"/>
          </p:cNvSpPr>
          <p:nvPr/>
        </p:nvSpPr>
        <p:spPr bwMode="auto">
          <a:xfrm>
            <a:off x="98027" y="6467740"/>
            <a:ext cx="2446182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>
            <a:spAutoFit/>
          </a:bodyPr>
          <a:lstStyle/>
          <a:p>
            <a:pPr eaLnBrk="0" latinLnBrk="0" hangingPunct="0"/>
            <a:r>
              <a:rPr kumimoji="0" lang="en-US" altLang="ko-KR" sz="1600" b="1" i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esterfield, Mech. Eng.</a:t>
            </a:r>
          </a:p>
        </p:txBody>
      </p:sp>
      <p:sp>
        <p:nvSpPr>
          <p:cNvPr id="1070" name="Rectangle 46"/>
          <p:cNvSpPr>
            <a:spLocks noChangeArrowheads="1"/>
          </p:cNvSpPr>
          <p:nvPr/>
        </p:nvSpPr>
        <p:spPr bwMode="auto">
          <a:xfrm>
            <a:off x="9404019" y="6025935"/>
            <a:ext cx="40395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>
            <a:spAutoFit/>
          </a:bodyPr>
          <a:lstStyle/>
          <a:p>
            <a:pPr algn="r" eaLnBrk="0" latinLnBrk="0" hangingPunct="0"/>
            <a:fld id="{898134F9-0B80-452F-B221-89E10ECF4C98}" type="slidenum">
              <a:rPr kumimoji="0" lang="en-US" altLang="ko-KR" sz="1400" smtClean="0">
                <a:solidFill>
                  <a:srgbClr val="FFFFFF"/>
                </a:solidFill>
                <a:latin typeface="Arial" charset="0"/>
                <a:ea typeface="굴림" charset="-127"/>
              </a:rPr>
              <a:pPr algn="r" eaLnBrk="0" latinLnBrk="0" hangingPunct="0"/>
              <a:t>‹#›</a:t>
            </a:fld>
            <a:endParaRPr kumimoji="0" lang="en-US" altLang="ko-KR" sz="1400" smtClean="0">
              <a:solidFill>
                <a:srgbClr val="FFFFFF"/>
              </a:solidFill>
              <a:latin typeface="Arial" charset="0"/>
              <a:ea typeface="굴림" charset="-127"/>
            </a:endParaRPr>
          </a:p>
        </p:txBody>
      </p:sp>
      <p:pic>
        <p:nvPicPr>
          <p:cNvPr id="1071" name="Picture 47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0500" y="6391275"/>
            <a:ext cx="74295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41032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4" r:id="rId1"/>
    <p:sldLayoutId id="2147484995" r:id="rId2"/>
    <p:sldLayoutId id="2147484996" r:id="rId3"/>
    <p:sldLayoutId id="2147484997" r:id="rId4"/>
    <p:sldLayoutId id="2147484998" r:id="rId5"/>
    <p:sldLayoutId id="2147484999" r:id="rId6"/>
    <p:sldLayoutId id="2147485000" r:id="rId7"/>
    <p:sldLayoutId id="2147485001" r:id="rId8"/>
    <p:sldLayoutId id="2147485002" r:id="rId9"/>
    <p:sldLayoutId id="2147485003" r:id="rId10"/>
    <p:sldLayoutId id="2147485004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3200" b="1">
          <a:solidFill>
            <a:srgbClr val="FFFFF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FFFF"/>
        </a:buClr>
        <a:buSzPct val="100000"/>
        <a:buFont typeface="Wingdings" pitchFamily="2" charset="2"/>
        <a:buChar char="l"/>
        <a:defRPr sz="2800" b="1">
          <a:solidFill>
            <a:schemeClr val="accent2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400" b="1">
          <a:solidFill>
            <a:srgbClr val="FF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FFFF"/>
        </a:buClr>
        <a:buSzPct val="100000"/>
        <a:buFont typeface="Wingdings" pitchFamily="2" charset="2"/>
        <a:buChar char="l"/>
        <a:defRPr sz="2000" b="1">
          <a:solidFill>
            <a:schemeClr val="accent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42950" y="6248400"/>
            <a:ext cx="2063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ea typeface="굴림" charset="-127"/>
              </a:defRPr>
            </a:lvl1pPr>
          </a:lstStyle>
          <a:p>
            <a:pPr eaLnBrk="0" latinLnBrk="0" hangingPunct="0"/>
            <a:endParaRPr kumimoji="0" lang="en-US" altLang="ko-KR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8400"/>
            <a:ext cx="31369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ea typeface="굴림" charset="-127"/>
              </a:defRPr>
            </a:lvl1pPr>
          </a:lstStyle>
          <a:p>
            <a:pPr eaLnBrk="0" latinLnBrk="0" hangingPunct="0"/>
            <a:endParaRPr kumimoji="0" lang="en-US" altLang="ko-KR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99300" y="6248400"/>
            <a:ext cx="206375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ea typeface="굴림" charset="-127"/>
              </a:defRPr>
            </a:lvl1pPr>
          </a:lstStyle>
          <a:p>
            <a:pPr eaLnBrk="0" latinLnBrk="0" hangingPunct="0"/>
            <a:fld id="{9F4745CE-6912-4E3E-A45B-257B70417E9B}" type="slidenum">
              <a:rPr kumimoji="0" lang="en-US" altLang="ko-KR" smtClean="0">
                <a:solidFill>
                  <a:srgbClr val="000000"/>
                </a:solidFill>
                <a:latin typeface="Times New Roman" pitchFamily="18" charset="0"/>
              </a:rPr>
              <a:pPr eaLnBrk="0" latinLnBrk="0" hangingPunct="0"/>
              <a:t>‹#›</a:t>
            </a:fld>
            <a:endParaRPr kumimoji="0" lang="en-US" altLang="ko-KR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grpSp>
        <p:nvGrpSpPr>
          <p:cNvPr id="1066" name="Group 42"/>
          <p:cNvGrpSpPr>
            <a:grpSpLocks/>
          </p:cNvGrpSpPr>
          <p:nvPr/>
        </p:nvGrpSpPr>
        <p:grpSpPr bwMode="auto">
          <a:xfrm>
            <a:off x="158224" y="976313"/>
            <a:ext cx="9572360" cy="5256212"/>
            <a:chOff x="92" y="615"/>
            <a:chExt cx="5566" cy="3311"/>
          </a:xfrm>
        </p:grpSpPr>
        <p:grpSp>
          <p:nvGrpSpPr>
            <p:cNvPr id="1058" name="Group 34"/>
            <p:cNvGrpSpPr>
              <a:grpSpLocks/>
            </p:cNvGrpSpPr>
            <p:nvPr/>
          </p:nvGrpSpPr>
          <p:grpSpPr bwMode="auto">
            <a:xfrm>
              <a:off x="2314" y="617"/>
              <a:ext cx="3344" cy="3080"/>
              <a:chOff x="2314" y="617"/>
              <a:chExt cx="3344" cy="3080"/>
            </a:xfrm>
          </p:grpSpPr>
          <p:grpSp>
            <p:nvGrpSpPr>
              <p:cNvPr id="1034" name="Group 10"/>
              <p:cNvGrpSpPr>
                <a:grpSpLocks/>
              </p:cNvGrpSpPr>
              <p:nvPr/>
            </p:nvGrpSpPr>
            <p:grpSpPr bwMode="auto">
              <a:xfrm>
                <a:off x="5166" y="2575"/>
                <a:ext cx="492" cy="1122"/>
                <a:chOff x="5166" y="2575"/>
                <a:chExt cx="492" cy="1122"/>
              </a:xfrm>
            </p:grpSpPr>
            <p:grpSp>
              <p:nvGrpSpPr>
                <p:cNvPr id="1032" name="Group 8"/>
                <p:cNvGrpSpPr>
                  <a:grpSpLocks/>
                </p:cNvGrpSpPr>
                <p:nvPr/>
              </p:nvGrpSpPr>
              <p:grpSpPr bwMode="auto">
                <a:xfrm>
                  <a:off x="5166" y="3367"/>
                  <a:ext cx="492" cy="330"/>
                  <a:chOff x="5166" y="3367"/>
                  <a:chExt cx="492" cy="330"/>
                </a:xfrm>
              </p:grpSpPr>
              <p:sp>
                <p:nvSpPr>
                  <p:cNvPr id="1029" name="Freeform 5"/>
                  <p:cNvSpPr>
                    <a:spLocks/>
                  </p:cNvSpPr>
                  <p:nvPr/>
                </p:nvSpPr>
                <p:spPr bwMode="auto">
                  <a:xfrm>
                    <a:off x="5579" y="3367"/>
                    <a:ext cx="79" cy="200"/>
                  </a:xfrm>
                  <a:custGeom>
                    <a:avLst/>
                    <a:gdLst>
                      <a:gd name="T0" fmla="*/ 25 w 79"/>
                      <a:gd name="T1" fmla="*/ 3 h 200"/>
                      <a:gd name="T2" fmla="*/ 33 w 79"/>
                      <a:gd name="T3" fmla="*/ 0 h 200"/>
                      <a:gd name="T4" fmla="*/ 47 w 79"/>
                      <a:gd name="T5" fmla="*/ 22 h 200"/>
                      <a:gd name="T6" fmla="*/ 45 w 79"/>
                      <a:gd name="T7" fmla="*/ 86 h 200"/>
                      <a:gd name="T8" fmla="*/ 55 w 79"/>
                      <a:gd name="T9" fmla="*/ 86 h 200"/>
                      <a:gd name="T10" fmla="*/ 57 w 79"/>
                      <a:gd name="T11" fmla="*/ 94 h 200"/>
                      <a:gd name="T12" fmla="*/ 60 w 79"/>
                      <a:gd name="T13" fmla="*/ 108 h 200"/>
                      <a:gd name="T14" fmla="*/ 62 w 79"/>
                      <a:gd name="T15" fmla="*/ 116 h 200"/>
                      <a:gd name="T16" fmla="*/ 70 w 79"/>
                      <a:gd name="T17" fmla="*/ 113 h 200"/>
                      <a:gd name="T18" fmla="*/ 76 w 79"/>
                      <a:gd name="T19" fmla="*/ 100 h 200"/>
                      <a:gd name="T20" fmla="*/ 78 w 79"/>
                      <a:gd name="T21" fmla="*/ 108 h 200"/>
                      <a:gd name="T22" fmla="*/ 74 w 79"/>
                      <a:gd name="T23" fmla="*/ 119 h 200"/>
                      <a:gd name="T24" fmla="*/ 70 w 79"/>
                      <a:gd name="T25" fmla="*/ 127 h 200"/>
                      <a:gd name="T26" fmla="*/ 68 w 79"/>
                      <a:gd name="T27" fmla="*/ 144 h 200"/>
                      <a:gd name="T28" fmla="*/ 59 w 79"/>
                      <a:gd name="T29" fmla="*/ 152 h 200"/>
                      <a:gd name="T30" fmla="*/ 53 w 79"/>
                      <a:gd name="T31" fmla="*/ 155 h 200"/>
                      <a:gd name="T32" fmla="*/ 45 w 79"/>
                      <a:gd name="T33" fmla="*/ 163 h 200"/>
                      <a:gd name="T34" fmla="*/ 43 w 79"/>
                      <a:gd name="T35" fmla="*/ 171 h 200"/>
                      <a:gd name="T36" fmla="*/ 45 w 79"/>
                      <a:gd name="T37" fmla="*/ 180 h 200"/>
                      <a:gd name="T38" fmla="*/ 47 w 79"/>
                      <a:gd name="T39" fmla="*/ 188 h 200"/>
                      <a:gd name="T40" fmla="*/ 37 w 79"/>
                      <a:gd name="T41" fmla="*/ 193 h 200"/>
                      <a:gd name="T42" fmla="*/ 31 w 79"/>
                      <a:gd name="T43" fmla="*/ 196 h 200"/>
                      <a:gd name="T44" fmla="*/ 25 w 79"/>
                      <a:gd name="T45" fmla="*/ 199 h 200"/>
                      <a:gd name="T46" fmla="*/ 21 w 79"/>
                      <a:gd name="T47" fmla="*/ 196 h 200"/>
                      <a:gd name="T48" fmla="*/ 12 w 79"/>
                      <a:gd name="T49" fmla="*/ 193 h 200"/>
                      <a:gd name="T50" fmla="*/ 8 w 79"/>
                      <a:gd name="T51" fmla="*/ 188 h 200"/>
                      <a:gd name="T52" fmla="*/ 12 w 79"/>
                      <a:gd name="T53" fmla="*/ 182 h 200"/>
                      <a:gd name="T54" fmla="*/ 20 w 79"/>
                      <a:gd name="T55" fmla="*/ 180 h 200"/>
                      <a:gd name="T56" fmla="*/ 25 w 79"/>
                      <a:gd name="T57" fmla="*/ 166 h 200"/>
                      <a:gd name="T58" fmla="*/ 25 w 79"/>
                      <a:gd name="T59" fmla="*/ 160 h 200"/>
                      <a:gd name="T60" fmla="*/ 20 w 79"/>
                      <a:gd name="T61" fmla="*/ 155 h 200"/>
                      <a:gd name="T62" fmla="*/ 12 w 79"/>
                      <a:gd name="T63" fmla="*/ 146 h 200"/>
                      <a:gd name="T64" fmla="*/ 6 w 79"/>
                      <a:gd name="T65" fmla="*/ 146 h 200"/>
                      <a:gd name="T66" fmla="*/ 2 w 79"/>
                      <a:gd name="T67" fmla="*/ 144 h 200"/>
                      <a:gd name="T68" fmla="*/ 0 w 79"/>
                      <a:gd name="T69" fmla="*/ 135 h 200"/>
                      <a:gd name="T70" fmla="*/ 2 w 79"/>
                      <a:gd name="T71" fmla="*/ 130 h 200"/>
                      <a:gd name="T72" fmla="*/ 6 w 79"/>
                      <a:gd name="T73" fmla="*/ 130 h 200"/>
                      <a:gd name="T74" fmla="*/ 12 w 79"/>
                      <a:gd name="T75" fmla="*/ 127 h 200"/>
                      <a:gd name="T76" fmla="*/ 20 w 79"/>
                      <a:gd name="T77" fmla="*/ 119 h 200"/>
                      <a:gd name="T78" fmla="*/ 23 w 79"/>
                      <a:gd name="T79" fmla="*/ 116 h 200"/>
                      <a:gd name="T80" fmla="*/ 27 w 79"/>
                      <a:gd name="T81" fmla="*/ 86 h 200"/>
                      <a:gd name="T82" fmla="*/ 23 w 79"/>
                      <a:gd name="T83" fmla="*/ 77 h 200"/>
                      <a:gd name="T84" fmla="*/ 18 w 79"/>
                      <a:gd name="T85" fmla="*/ 72 h 200"/>
                      <a:gd name="T86" fmla="*/ 16 w 79"/>
                      <a:gd name="T87" fmla="*/ 55 h 200"/>
                      <a:gd name="T88" fmla="*/ 18 w 79"/>
                      <a:gd name="T89" fmla="*/ 39 h 200"/>
                      <a:gd name="T90" fmla="*/ 20 w 79"/>
                      <a:gd name="T91" fmla="*/ 28 h 200"/>
                      <a:gd name="T92" fmla="*/ 25 w 79"/>
                      <a:gd name="T93" fmla="*/ 3 h 2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</a:cxnLst>
                    <a:rect l="0" t="0" r="r" b="b"/>
                    <a:pathLst>
                      <a:path w="79" h="200">
                        <a:moveTo>
                          <a:pt x="25" y="3"/>
                        </a:moveTo>
                        <a:lnTo>
                          <a:pt x="33" y="0"/>
                        </a:lnTo>
                        <a:lnTo>
                          <a:pt x="47" y="22"/>
                        </a:lnTo>
                        <a:lnTo>
                          <a:pt x="45" y="86"/>
                        </a:lnTo>
                        <a:lnTo>
                          <a:pt x="55" y="86"/>
                        </a:lnTo>
                        <a:lnTo>
                          <a:pt x="57" y="94"/>
                        </a:lnTo>
                        <a:lnTo>
                          <a:pt x="60" y="108"/>
                        </a:lnTo>
                        <a:lnTo>
                          <a:pt x="62" y="116"/>
                        </a:lnTo>
                        <a:lnTo>
                          <a:pt x="70" y="113"/>
                        </a:lnTo>
                        <a:lnTo>
                          <a:pt x="76" y="100"/>
                        </a:lnTo>
                        <a:lnTo>
                          <a:pt x="78" y="108"/>
                        </a:lnTo>
                        <a:lnTo>
                          <a:pt x="74" y="119"/>
                        </a:lnTo>
                        <a:lnTo>
                          <a:pt x="70" y="127"/>
                        </a:lnTo>
                        <a:lnTo>
                          <a:pt x="68" y="144"/>
                        </a:lnTo>
                        <a:lnTo>
                          <a:pt x="59" y="152"/>
                        </a:lnTo>
                        <a:lnTo>
                          <a:pt x="53" y="155"/>
                        </a:lnTo>
                        <a:lnTo>
                          <a:pt x="45" y="163"/>
                        </a:lnTo>
                        <a:lnTo>
                          <a:pt x="43" y="171"/>
                        </a:lnTo>
                        <a:lnTo>
                          <a:pt x="45" y="180"/>
                        </a:lnTo>
                        <a:lnTo>
                          <a:pt x="47" y="188"/>
                        </a:lnTo>
                        <a:lnTo>
                          <a:pt x="37" y="193"/>
                        </a:lnTo>
                        <a:lnTo>
                          <a:pt x="31" y="196"/>
                        </a:lnTo>
                        <a:lnTo>
                          <a:pt x="25" y="199"/>
                        </a:lnTo>
                        <a:lnTo>
                          <a:pt x="21" y="196"/>
                        </a:lnTo>
                        <a:lnTo>
                          <a:pt x="12" y="193"/>
                        </a:lnTo>
                        <a:lnTo>
                          <a:pt x="8" y="188"/>
                        </a:lnTo>
                        <a:lnTo>
                          <a:pt x="12" y="182"/>
                        </a:lnTo>
                        <a:lnTo>
                          <a:pt x="20" y="180"/>
                        </a:lnTo>
                        <a:lnTo>
                          <a:pt x="25" y="166"/>
                        </a:lnTo>
                        <a:lnTo>
                          <a:pt x="25" y="160"/>
                        </a:lnTo>
                        <a:lnTo>
                          <a:pt x="20" y="155"/>
                        </a:lnTo>
                        <a:lnTo>
                          <a:pt x="12" y="146"/>
                        </a:lnTo>
                        <a:lnTo>
                          <a:pt x="6" y="146"/>
                        </a:lnTo>
                        <a:lnTo>
                          <a:pt x="2" y="144"/>
                        </a:lnTo>
                        <a:lnTo>
                          <a:pt x="0" y="135"/>
                        </a:lnTo>
                        <a:lnTo>
                          <a:pt x="2" y="130"/>
                        </a:lnTo>
                        <a:lnTo>
                          <a:pt x="6" y="130"/>
                        </a:lnTo>
                        <a:lnTo>
                          <a:pt x="12" y="127"/>
                        </a:lnTo>
                        <a:lnTo>
                          <a:pt x="20" y="119"/>
                        </a:lnTo>
                        <a:lnTo>
                          <a:pt x="23" y="116"/>
                        </a:lnTo>
                        <a:lnTo>
                          <a:pt x="27" y="86"/>
                        </a:lnTo>
                        <a:lnTo>
                          <a:pt x="23" y="77"/>
                        </a:lnTo>
                        <a:lnTo>
                          <a:pt x="18" y="72"/>
                        </a:lnTo>
                        <a:lnTo>
                          <a:pt x="16" y="55"/>
                        </a:lnTo>
                        <a:lnTo>
                          <a:pt x="18" y="39"/>
                        </a:lnTo>
                        <a:lnTo>
                          <a:pt x="20" y="28"/>
                        </a:lnTo>
                        <a:lnTo>
                          <a:pt x="25" y="3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1030" name="Freeform 6"/>
                  <p:cNvSpPr>
                    <a:spLocks/>
                  </p:cNvSpPr>
                  <p:nvPr/>
                </p:nvSpPr>
                <p:spPr bwMode="auto">
                  <a:xfrm>
                    <a:off x="5428" y="3527"/>
                    <a:ext cx="146" cy="170"/>
                  </a:xfrm>
                  <a:custGeom>
                    <a:avLst/>
                    <a:gdLst>
                      <a:gd name="T0" fmla="*/ 102 w 146"/>
                      <a:gd name="T1" fmla="*/ 0 h 170"/>
                      <a:gd name="T2" fmla="*/ 120 w 146"/>
                      <a:gd name="T3" fmla="*/ 0 h 170"/>
                      <a:gd name="T4" fmla="*/ 145 w 146"/>
                      <a:gd name="T5" fmla="*/ 44 h 170"/>
                      <a:gd name="T6" fmla="*/ 118 w 146"/>
                      <a:gd name="T7" fmla="*/ 83 h 170"/>
                      <a:gd name="T8" fmla="*/ 118 w 146"/>
                      <a:gd name="T9" fmla="*/ 100 h 170"/>
                      <a:gd name="T10" fmla="*/ 112 w 146"/>
                      <a:gd name="T11" fmla="*/ 105 h 170"/>
                      <a:gd name="T12" fmla="*/ 96 w 146"/>
                      <a:gd name="T13" fmla="*/ 105 h 170"/>
                      <a:gd name="T14" fmla="*/ 76 w 146"/>
                      <a:gd name="T15" fmla="*/ 127 h 170"/>
                      <a:gd name="T16" fmla="*/ 59 w 146"/>
                      <a:gd name="T17" fmla="*/ 150 h 170"/>
                      <a:gd name="T18" fmla="*/ 47 w 146"/>
                      <a:gd name="T19" fmla="*/ 169 h 170"/>
                      <a:gd name="T20" fmla="*/ 47 w 146"/>
                      <a:gd name="T21" fmla="*/ 152 h 170"/>
                      <a:gd name="T22" fmla="*/ 25 w 146"/>
                      <a:gd name="T23" fmla="*/ 155 h 170"/>
                      <a:gd name="T24" fmla="*/ 16 w 146"/>
                      <a:gd name="T25" fmla="*/ 155 h 170"/>
                      <a:gd name="T26" fmla="*/ 0 w 146"/>
                      <a:gd name="T27" fmla="*/ 155 h 170"/>
                      <a:gd name="T28" fmla="*/ 22 w 146"/>
                      <a:gd name="T29" fmla="*/ 127 h 170"/>
                      <a:gd name="T30" fmla="*/ 29 w 146"/>
                      <a:gd name="T31" fmla="*/ 114 h 170"/>
                      <a:gd name="T32" fmla="*/ 37 w 146"/>
                      <a:gd name="T33" fmla="*/ 114 h 170"/>
                      <a:gd name="T34" fmla="*/ 53 w 146"/>
                      <a:gd name="T35" fmla="*/ 91 h 170"/>
                      <a:gd name="T36" fmla="*/ 59 w 146"/>
                      <a:gd name="T37" fmla="*/ 91 h 170"/>
                      <a:gd name="T38" fmla="*/ 59 w 146"/>
                      <a:gd name="T39" fmla="*/ 89 h 170"/>
                      <a:gd name="T40" fmla="*/ 67 w 146"/>
                      <a:gd name="T41" fmla="*/ 80 h 170"/>
                      <a:gd name="T42" fmla="*/ 76 w 146"/>
                      <a:gd name="T43" fmla="*/ 80 h 170"/>
                      <a:gd name="T44" fmla="*/ 73 w 146"/>
                      <a:gd name="T45" fmla="*/ 55 h 170"/>
                      <a:gd name="T46" fmla="*/ 74 w 146"/>
                      <a:gd name="T47" fmla="*/ 55 h 170"/>
                      <a:gd name="T48" fmla="*/ 84 w 146"/>
                      <a:gd name="T49" fmla="*/ 42 h 170"/>
                      <a:gd name="T50" fmla="*/ 88 w 146"/>
                      <a:gd name="T51" fmla="*/ 53 h 170"/>
                      <a:gd name="T52" fmla="*/ 104 w 146"/>
                      <a:gd name="T53" fmla="*/ 33 h 170"/>
                      <a:gd name="T54" fmla="*/ 102 w 146"/>
                      <a:gd name="T55" fmla="*/ 0 h 1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146" h="170">
                        <a:moveTo>
                          <a:pt x="102" y="0"/>
                        </a:moveTo>
                        <a:lnTo>
                          <a:pt x="120" y="0"/>
                        </a:lnTo>
                        <a:lnTo>
                          <a:pt x="145" y="44"/>
                        </a:lnTo>
                        <a:lnTo>
                          <a:pt x="118" y="83"/>
                        </a:lnTo>
                        <a:lnTo>
                          <a:pt x="118" y="100"/>
                        </a:lnTo>
                        <a:lnTo>
                          <a:pt x="112" y="105"/>
                        </a:lnTo>
                        <a:lnTo>
                          <a:pt x="96" y="105"/>
                        </a:lnTo>
                        <a:lnTo>
                          <a:pt x="76" y="127"/>
                        </a:lnTo>
                        <a:lnTo>
                          <a:pt x="59" y="150"/>
                        </a:lnTo>
                        <a:lnTo>
                          <a:pt x="47" y="169"/>
                        </a:lnTo>
                        <a:lnTo>
                          <a:pt x="47" y="152"/>
                        </a:lnTo>
                        <a:lnTo>
                          <a:pt x="25" y="155"/>
                        </a:lnTo>
                        <a:lnTo>
                          <a:pt x="16" y="155"/>
                        </a:lnTo>
                        <a:lnTo>
                          <a:pt x="0" y="155"/>
                        </a:lnTo>
                        <a:lnTo>
                          <a:pt x="22" y="127"/>
                        </a:lnTo>
                        <a:lnTo>
                          <a:pt x="29" y="114"/>
                        </a:lnTo>
                        <a:lnTo>
                          <a:pt x="37" y="114"/>
                        </a:lnTo>
                        <a:lnTo>
                          <a:pt x="53" y="91"/>
                        </a:lnTo>
                        <a:lnTo>
                          <a:pt x="59" y="91"/>
                        </a:lnTo>
                        <a:lnTo>
                          <a:pt x="59" y="89"/>
                        </a:lnTo>
                        <a:lnTo>
                          <a:pt x="67" y="80"/>
                        </a:lnTo>
                        <a:lnTo>
                          <a:pt x="76" y="80"/>
                        </a:lnTo>
                        <a:lnTo>
                          <a:pt x="73" y="55"/>
                        </a:lnTo>
                        <a:lnTo>
                          <a:pt x="74" y="55"/>
                        </a:lnTo>
                        <a:lnTo>
                          <a:pt x="84" y="42"/>
                        </a:lnTo>
                        <a:lnTo>
                          <a:pt x="88" y="53"/>
                        </a:lnTo>
                        <a:lnTo>
                          <a:pt x="104" y="33"/>
                        </a:lnTo>
                        <a:lnTo>
                          <a:pt x="102" y="0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1031" name="Freeform 7"/>
                  <p:cNvSpPr>
                    <a:spLocks/>
                  </p:cNvSpPr>
                  <p:nvPr/>
                </p:nvSpPr>
                <p:spPr bwMode="auto">
                  <a:xfrm>
                    <a:off x="5166" y="3537"/>
                    <a:ext cx="56" cy="90"/>
                  </a:xfrm>
                  <a:custGeom>
                    <a:avLst/>
                    <a:gdLst>
                      <a:gd name="T0" fmla="*/ 0 w 56"/>
                      <a:gd name="T1" fmla="*/ 0 h 90"/>
                      <a:gd name="T2" fmla="*/ 12 w 56"/>
                      <a:gd name="T3" fmla="*/ 0 h 90"/>
                      <a:gd name="T4" fmla="*/ 26 w 56"/>
                      <a:gd name="T5" fmla="*/ 11 h 90"/>
                      <a:gd name="T6" fmla="*/ 55 w 56"/>
                      <a:gd name="T7" fmla="*/ 11 h 90"/>
                      <a:gd name="T8" fmla="*/ 51 w 56"/>
                      <a:gd name="T9" fmla="*/ 25 h 90"/>
                      <a:gd name="T10" fmla="*/ 55 w 56"/>
                      <a:gd name="T11" fmla="*/ 42 h 90"/>
                      <a:gd name="T12" fmla="*/ 45 w 56"/>
                      <a:gd name="T13" fmla="*/ 42 h 90"/>
                      <a:gd name="T14" fmla="*/ 43 w 56"/>
                      <a:gd name="T15" fmla="*/ 45 h 90"/>
                      <a:gd name="T16" fmla="*/ 37 w 56"/>
                      <a:gd name="T17" fmla="*/ 47 h 90"/>
                      <a:gd name="T18" fmla="*/ 43 w 56"/>
                      <a:gd name="T19" fmla="*/ 89 h 90"/>
                      <a:gd name="T20" fmla="*/ 26 w 56"/>
                      <a:gd name="T21" fmla="*/ 86 h 90"/>
                      <a:gd name="T22" fmla="*/ 10 w 56"/>
                      <a:gd name="T23" fmla="*/ 72 h 90"/>
                      <a:gd name="T24" fmla="*/ 10 w 56"/>
                      <a:gd name="T25" fmla="*/ 45 h 90"/>
                      <a:gd name="T26" fmla="*/ 10 w 56"/>
                      <a:gd name="T27" fmla="*/ 33 h 90"/>
                      <a:gd name="T28" fmla="*/ 0 w 56"/>
                      <a:gd name="T29" fmla="*/ 25 h 90"/>
                      <a:gd name="T30" fmla="*/ 0 w 56"/>
                      <a:gd name="T31" fmla="*/ 0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56" h="90">
                        <a:moveTo>
                          <a:pt x="0" y="0"/>
                        </a:moveTo>
                        <a:lnTo>
                          <a:pt x="12" y="0"/>
                        </a:lnTo>
                        <a:lnTo>
                          <a:pt x="26" y="11"/>
                        </a:lnTo>
                        <a:lnTo>
                          <a:pt x="55" y="11"/>
                        </a:lnTo>
                        <a:lnTo>
                          <a:pt x="51" y="25"/>
                        </a:lnTo>
                        <a:lnTo>
                          <a:pt x="55" y="42"/>
                        </a:lnTo>
                        <a:lnTo>
                          <a:pt x="45" y="42"/>
                        </a:lnTo>
                        <a:lnTo>
                          <a:pt x="43" y="45"/>
                        </a:lnTo>
                        <a:lnTo>
                          <a:pt x="37" y="47"/>
                        </a:lnTo>
                        <a:lnTo>
                          <a:pt x="43" y="89"/>
                        </a:lnTo>
                        <a:lnTo>
                          <a:pt x="26" y="86"/>
                        </a:lnTo>
                        <a:lnTo>
                          <a:pt x="10" y="72"/>
                        </a:lnTo>
                        <a:lnTo>
                          <a:pt x="10" y="45"/>
                        </a:lnTo>
                        <a:lnTo>
                          <a:pt x="10" y="33"/>
                        </a:lnTo>
                        <a:lnTo>
                          <a:pt x="0" y="25"/>
                        </a:lnTo>
                        <a:lnTo>
                          <a:pt x="0" y="0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</p:grpSp>
            <p:sp>
              <p:nvSpPr>
                <p:cNvPr id="1033" name="Freeform 9"/>
                <p:cNvSpPr>
                  <a:spLocks/>
                </p:cNvSpPr>
                <p:nvPr/>
              </p:nvSpPr>
              <p:spPr bwMode="auto">
                <a:xfrm>
                  <a:off x="5266" y="2575"/>
                  <a:ext cx="89" cy="101"/>
                </a:xfrm>
                <a:custGeom>
                  <a:avLst/>
                  <a:gdLst>
                    <a:gd name="T0" fmla="*/ 16 w 89"/>
                    <a:gd name="T1" fmla="*/ 37 h 101"/>
                    <a:gd name="T2" fmla="*/ 0 w 89"/>
                    <a:gd name="T3" fmla="*/ 80 h 101"/>
                    <a:gd name="T4" fmla="*/ 6 w 89"/>
                    <a:gd name="T5" fmla="*/ 97 h 101"/>
                    <a:gd name="T6" fmla="*/ 31 w 89"/>
                    <a:gd name="T7" fmla="*/ 100 h 101"/>
                    <a:gd name="T8" fmla="*/ 53 w 89"/>
                    <a:gd name="T9" fmla="*/ 100 h 101"/>
                    <a:gd name="T10" fmla="*/ 61 w 89"/>
                    <a:gd name="T11" fmla="*/ 83 h 101"/>
                    <a:gd name="T12" fmla="*/ 65 w 89"/>
                    <a:gd name="T13" fmla="*/ 66 h 101"/>
                    <a:gd name="T14" fmla="*/ 88 w 89"/>
                    <a:gd name="T15" fmla="*/ 66 h 101"/>
                    <a:gd name="T16" fmla="*/ 84 w 89"/>
                    <a:gd name="T17" fmla="*/ 40 h 101"/>
                    <a:gd name="T18" fmla="*/ 84 w 89"/>
                    <a:gd name="T19" fmla="*/ 14 h 101"/>
                    <a:gd name="T20" fmla="*/ 61 w 89"/>
                    <a:gd name="T21" fmla="*/ 0 h 101"/>
                    <a:gd name="T22" fmla="*/ 59 w 89"/>
                    <a:gd name="T23" fmla="*/ 29 h 101"/>
                    <a:gd name="T24" fmla="*/ 72 w 89"/>
                    <a:gd name="T25" fmla="*/ 46 h 101"/>
                    <a:gd name="T26" fmla="*/ 51 w 89"/>
                    <a:gd name="T27" fmla="*/ 46 h 101"/>
                    <a:gd name="T28" fmla="*/ 43 w 89"/>
                    <a:gd name="T29" fmla="*/ 57 h 101"/>
                    <a:gd name="T30" fmla="*/ 16 w 89"/>
                    <a:gd name="T31" fmla="*/ 37 h 1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89" h="101">
                      <a:moveTo>
                        <a:pt x="16" y="37"/>
                      </a:moveTo>
                      <a:lnTo>
                        <a:pt x="0" y="80"/>
                      </a:lnTo>
                      <a:lnTo>
                        <a:pt x="6" y="97"/>
                      </a:lnTo>
                      <a:lnTo>
                        <a:pt x="31" y="100"/>
                      </a:lnTo>
                      <a:lnTo>
                        <a:pt x="53" y="100"/>
                      </a:lnTo>
                      <a:lnTo>
                        <a:pt x="61" y="83"/>
                      </a:lnTo>
                      <a:lnTo>
                        <a:pt x="65" y="66"/>
                      </a:lnTo>
                      <a:lnTo>
                        <a:pt x="88" y="66"/>
                      </a:lnTo>
                      <a:lnTo>
                        <a:pt x="84" y="40"/>
                      </a:lnTo>
                      <a:lnTo>
                        <a:pt x="84" y="14"/>
                      </a:lnTo>
                      <a:lnTo>
                        <a:pt x="61" y="0"/>
                      </a:lnTo>
                      <a:lnTo>
                        <a:pt x="59" y="29"/>
                      </a:lnTo>
                      <a:lnTo>
                        <a:pt x="72" y="46"/>
                      </a:lnTo>
                      <a:lnTo>
                        <a:pt x="51" y="46"/>
                      </a:lnTo>
                      <a:lnTo>
                        <a:pt x="43" y="57"/>
                      </a:lnTo>
                      <a:lnTo>
                        <a:pt x="16" y="37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  <p:grpSp>
            <p:nvGrpSpPr>
              <p:cNvPr id="1048" name="Group 24"/>
              <p:cNvGrpSpPr>
                <a:grpSpLocks/>
              </p:cNvGrpSpPr>
              <p:nvPr/>
            </p:nvGrpSpPr>
            <p:grpSpPr bwMode="auto">
              <a:xfrm>
                <a:off x="4293" y="1104"/>
                <a:ext cx="1037" cy="2393"/>
                <a:chOff x="4293" y="1104"/>
                <a:chExt cx="1037" cy="2393"/>
              </a:xfrm>
            </p:grpSpPr>
            <p:grpSp>
              <p:nvGrpSpPr>
                <p:cNvPr id="1038" name="Group 14"/>
                <p:cNvGrpSpPr>
                  <a:grpSpLocks/>
                </p:cNvGrpSpPr>
                <p:nvPr/>
              </p:nvGrpSpPr>
              <p:grpSpPr bwMode="auto">
                <a:xfrm>
                  <a:off x="4460" y="1348"/>
                  <a:ext cx="232" cy="719"/>
                  <a:chOff x="4460" y="1348"/>
                  <a:chExt cx="232" cy="719"/>
                </a:xfrm>
              </p:grpSpPr>
              <p:sp>
                <p:nvSpPr>
                  <p:cNvPr id="1035" name="Freeform 11"/>
                  <p:cNvSpPr>
                    <a:spLocks/>
                  </p:cNvSpPr>
                  <p:nvPr/>
                </p:nvSpPr>
                <p:spPr bwMode="auto">
                  <a:xfrm>
                    <a:off x="4460" y="1993"/>
                    <a:ext cx="56" cy="74"/>
                  </a:xfrm>
                  <a:custGeom>
                    <a:avLst/>
                    <a:gdLst>
                      <a:gd name="T0" fmla="*/ 0 w 56"/>
                      <a:gd name="T1" fmla="*/ 56 h 74"/>
                      <a:gd name="T2" fmla="*/ 10 w 56"/>
                      <a:gd name="T3" fmla="*/ 70 h 74"/>
                      <a:gd name="T4" fmla="*/ 22 w 56"/>
                      <a:gd name="T5" fmla="*/ 67 h 74"/>
                      <a:gd name="T6" fmla="*/ 39 w 56"/>
                      <a:gd name="T7" fmla="*/ 73 h 74"/>
                      <a:gd name="T8" fmla="*/ 53 w 56"/>
                      <a:gd name="T9" fmla="*/ 73 h 74"/>
                      <a:gd name="T10" fmla="*/ 55 w 56"/>
                      <a:gd name="T11" fmla="*/ 48 h 74"/>
                      <a:gd name="T12" fmla="*/ 51 w 56"/>
                      <a:gd name="T13" fmla="*/ 31 h 74"/>
                      <a:gd name="T14" fmla="*/ 41 w 56"/>
                      <a:gd name="T15" fmla="*/ 11 h 74"/>
                      <a:gd name="T16" fmla="*/ 31 w 56"/>
                      <a:gd name="T17" fmla="*/ 11 h 74"/>
                      <a:gd name="T18" fmla="*/ 28 w 56"/>
                      <a:gd name="T19" fmla="*/ 0 h 74"/>
                      <a:gd name="T20" fmla="*/ 14 w 56"/>
                      <a:gd name="T21" fmla="*/ 0 h 74"/>
                      <a:gd name="T22" fmla="*/ 14 w 56"/>
                      <a:gd name="T23" fmla="*/ 22 h 74"/>
                      <a:gd name="T24" fmla="*/ 0 w 56"/>
                      <a:gd name="T25" fmla="*/ 56 h 7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56" h="74">
                        <a:moveTo>
                          <a:pt x="0" y="56"/>
                        </a:moveTo>
                        <a:lnTo>
                          <a:pt x="10" y="70"/>
                        </a:lnTo>
                        <a:lnTo>
                          <a:pt x="22" y="67"/>
                        </a:lnTo>
                        <a:lnTo>
                          <a:pt x="39" y="73"/>
                        </a:lnTo>
                        <a:lnTo>
                          <a:pt x="53" y="73"/>
                        </a:lnTo>
                        <a:lnTo>
                          <a:pt x="55" y="48"/>
                        </a:lnTo>
                        <a:lnTo>
                          <a:pt x="51" y="31"/>
                        </a:lnTo>
                        <a:lnTo>
                          <a:pt x="41" y="11"/>
                        </a:lnTo>
                        <a:lnTo>
                          <a:pt x="31" y="11"/>
                        </a:lnTo>
                        <a:lnTo>
                          <a:pt x="28" y="0"/>
                        </a:lnTo>
                        <a:lnTo>
                          <a:pt x="14" y="0"/>
                        </a:lnTo>
                        <a:lnTo>
                          <a:pt x="14" y="22"/>
                        </a:lnTo>
                        <a:lnTo>
                          <a:pt x="0" y="56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1036" name="Freeform 12"/>
                  <p:cNvSpPr>
                    <a:spLocks/>
                  </p:cNvSpPr>
                  <p:nvPr/>
                </p:nvSpPr>
                <p:spPr bwMode="auto">
                  <a:xfrm>
                    <a:off x="4607" y="1865"/>
                    <a:ext cx="54" cy="94"/>
                  </a:xfrm>
                  <a:custGeom>
                    <a:avLst/>
                    <a:gdLst>
                      <a:gd name="T0" fmla="*/ 12 w 54"/>
                      <a:gd name="T1" fmla="*/ 0 h 94"/>
                      <a:gd name="T2" fmla="*/ 35 w 54"/>
                      <a:gd name="T3" fmla="*/ 3 h 94"/>
                      <a:gd name="T4" fmla="*/ 43 w 54"/>
                      <a:gd name="T5" fmla="*/ 28 h 94"/>
                      <a:gd name="T6" fmla="*/ 53 w 54"/>
                      <a:gd name="T7" fmla="*/ 42 h 94"/>
                      <a:gd name="T8" fmla="*/ 45 w 54"/>
                      <a:gd name="T9" fmla="*/ 54 h 94"/>
                      <a:gd name="T10" fmla="*/ 53 w 54"/>
                      <a:gd name="T11" fmla="*/ 68 h 94"/>
                      <a:gd name="T12" fmla="*/ 49 w 54"/>
                      <a:gd name="T13" fmla="*/ 85 h 94"/>
                      <a:gd name="T14" fmla="*/ 41 w 54"/>
                      <a:gd name="T15" fmla="*/ 93 h 94"/>
                      <a:gd name="T16" fmla="*/ 26 w 54"/>
                      <a:gd name="T17" fmla="*/ 90 h 94"/>
                      <a:gd name="T18" fmla="*/ 16 w 54"/>
                      <a:gd name="T19" fmla="*/ 90 h 94"/>
                      <a:gd name="T20" fmla="*/ 10 w 54"/>
                      <a:gd name="T21" fmla="*/ 79 h 94"/>
                      <a:gd name="T22" fmla="*/ 4 w 54"/>
                      <a:gd name="T23" fmla="*/ 65 h 94"/>
                      <a:gd name="T24" fmla="*/ 4 w 54"/>
                      <a:gd name="T25" fmla="*/ 51 h 94"/>
                      <a:gd name="T26" fmla="*/ 0 w 54"/>
                      <a:gd name="T27" fmla="*/ 31 h 94"/>
                      <a:gd name="T28" fmla="*/ 12 w 54"/>
                      <a:gd name="T29" fmla="*/ 0 h 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54" h="94">
                        <a:moveTo>
                          <a:pt x="12" y="0"/>
                        </a:moveTo>
                        <a:lnTo>
                          <a:pt x="35" y="3"/>
                        </a:lnTo>
                        <a:lnTo>
                          <a:pt x="43" y="28"/>
                        </a:lnTo>
                        <a:lnTo>
                          <a:pt x="53" y="42"/>
                        </a:lnTo>
                        <a:lnTo>
                          <a:pt x="45" y="54"/>
                        </a:lnTo>
                        <a:lnTo>
                          <a:pt x="53" y="68"/>
                        </a:lnTo>
                        <a:lnTo>
                          <a:pt x="49" y="85"/>
                        </a:lnTo>
                        <a:lnTo>
                          <a:pt x="41" y="93"/>
                        </a:lnTo>
                        <a:lnTo>
                          <a:pt x="26" y="90"/>
                        </a:lnTo>
                        <a:lnTo>
                          <a:pt x="16" y="90"/>
                        </a:lnTo>
                        <a:lnTo>
                          <a:pt x="10" y="79"/>
                        </a:lnTo>
                        <a:lnTo>
                          <a:pt x="4" y="65"/>
                        </a:lnTo>
                        <a:lnTo>
                          <a:pt x="4" y="51"/>
                        </a:lnTo>
                        <a:lnTo>
                          <a:pt x="0" y="31"/>
                        </a:lnTo>
                        <a:lnTo>
                          <a:pt x="12" y="0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1037" name="Freeform 13"/>
                  <p:cNvSpPr>
                    <a:spLocks/>
                  </p:cNvSpPr>
                  <p:nvPr/>
                </p:nvSpPr>
                <p:spPr bwMode="auto">
                  <a:xfrm>
                    <a:off x="4597" y="1348"/>
                    <a:ext cx="95" cy="87"/>
                  </a:xfrm>
                  <a:custGeom>
                    <a:avLst/>
                    <a:gdLst>
                      <a:gd name="T0" fmla="*/ 14 w 95"/>
                      <a:gd name="T1" fmla="*/ 0 h 87"/>
                      <a:gd name="T2" fmla="*/ 25 w 95"/>
                      <a:gd name="T3" fmla="*/ 14 h 87"/>
                      <a:gd name="T4" fmla="*/ 37 w 95"/>
                      <a:gd name="T5" fmla="*/ 11 h 87"/>
                      <a:gd name="T6" fmla="*/ 55 w 95"/>
                      <a:gd name="T7" fmla="*/ 14 h 87"/>
                      <a:gd name="T8" fmla="*/ 71 w 95"/>
                      <a:gd name="T9" fmla="*/ 14 h 87"/>
                      <a:gd name="T10" fmla="*/ 78 w 95"/>
                      <a:gd name="T11" fmla="*/ 22 h 87"/>
                      <a:gd name="T12" fmla="*/ 88 w 95"/>
                      <a:gd name="T13" fmla="*/ 42 h 87"/>
                      <a:gd name="T14" fmla="*/ 94 w 95"/>
                      <a:gd name="T15" fmla="*/ 50 h 87"/>
                      <a:gd name="T16" fmla="*/ 72 w 95"/>
                      <a:gd name="T17" fmla="*/ 55 h 87"/>
                      <a:gd name="T18" fmla="*/ 67 w 95"/>
                      <a:gd name="T19" fmla="*/ 61 h 87"/>
                      <a:gd name="T20" fmla="*/ 72 w 95"/>
                      <a:gd name="T21" fmla="*/ 72 h 87"/>
                      <a:gd name="T22" fmla="*/ 72 w 95"/>
                      <a:gd name="T23" fmla="*/ 83 h 87"/>
                      <a:gd name="T24" fmla="*/ 51 w 95"/>
                      <a:gd name="T25" fmla="*/ 72 h 87"/>
                      <a:gd name="T26" fmla="*/ 33 w 95"/>
                      <a:gd name="T27" fmla="*/ 64 h 87"/>
                      <a:gd name="T28" fmla="*/ 25 w 95"/>
                      <a:gd name="T29" fmla="*/ 67 h 87"/>
                      <a:gd name="T30" fmla="*/ 25 w 95"/>
                      <a:gd name="T31" fmla="*/ 83 h 87"/>
                      <a:gd name="T32" fmla="*/ 14 w 95"/>
                      <a:gd name="T33" fmla="*/ 86 h 87"/>
                      <a:gd name="T34" fmla="*/ 8 w 95"/>
                      <a:gd name="T35" fmla="*/ 72 h 87"/>
                      <a:gd name="T36" fmla="*/ 6 w 95"/>
                      <a:gd name="T37" fmla="*/ 55 h 87"/>
                      <a:gd name="T38" fmla="*/ 0 w 95"/>
                      <a:gd name="T39" fmla="*/ 53 h 87"/>
                      <a:gd name="T40" fmla="*/ 6 w 95"/>
                      <a:gd name="T41" fmla="*/ 36 h 87"/>
                      <a:gd name="T42" fmla="*/ 16 w 95"/>
                      <a:gd name="T43" fmla="*/ 31 h 87"/>
                      <a:gd name="T44" fmla="*/ 14 w 95"/>
                      <a:gd name="T45" fmla="*/ 0 h 8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95" h="87">
                        <a:moveTo>
                          <a:pt x="14" y="0"/>
                        </a:moveTo>
                        <a:lnTo>
                          <a:pt x="25" y="14"/>
                        </a:lnTo>
                        <a:lnTo>
                          <a:pt x="37" y="11"/>
                        </a:lnTo>
                        <a:lnTo>
                          <a:pt x="55" y="14"/>
                        </a:lnTo>
                        <a:lnTo>
                          <a:pt x="71" y="14"/>
                        </a:lnTo>
                        <a:lnTo>
                          <a:pt x="78" y="22"/>
                        </a:lnTo>
                        <a:lnTo>
                          <a:pt x="88" y="42"/>
                        </a:lnTo>
                        <a:lnTo>
                          <a:pt x="94" y="50"/>
                        </a:lnTo>
                        <a:lnTo>
                          <a:pt x="72" y="55"/>
                        </a:lnTo>
                        <a:lnTo>
                          <a:pt x="67" y="61"/>
                        </a:lnTo>
                        <a:lnTo>
                          <a:pt x="72" y="72"/>
                        </a:lnTo>
                        <a:lnTo>
                          <a:pt x="72" y="83"/>
                        </a:lnTo>
                        <a:lnTo>
                          <a:pt x="51" y="72"/>
                        </a:lnTo>
                        <a:lnTo>
                          <a:pt x="33" y="64"/>
                        </a:lnTo>
                        <a:lnTo>
                          <a:pt x="25" y="67"/>
                        </a:lnTo>
                        <a:lnTo>
                          <a:pt x="25" y="83"/>
                        </a:lnTo>
                        <a:lnTo>
                          <a:pt x="14" y="86"/>
                        </a:lnTo>
                        <a:lnTo>
                          <a:pt x="8" y="72"/>
                        </a:lnTo>
                        <a:lnTo>
                          <a:pt x="6" y="55"/>
                        </a:lnTo>
                        <a:lnTo>
                          <a:pt x="0" y="53"/>
                        </a:lnTo>
                        <a:lnTo>
                          <a:pt x="6" y="36"/>
                        </a:lnTo>
                        <a:lnTo>
                          <a:pt x="16" y="31"/>
                        </a:lnTo>
                        <a:lnTo>
                          <a:pt x="14" y="0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</p:grpSp>
            <p:sp>
              <p:nvSpPr>
                <p:cNvPr id="1039" name="Freeform 15"/>
                <p:cNvSpPr>
                  <a:spLocks/>
                </p:cNvSpPr>
                <p:nvPr/>
              </p:nvSpPr>
              <p:spPr bwMode="auto">
                <a:xfrm>
                  <a:off x="4676" y="2803"/>
                  <a:ext cx="654" cy="694"/>
                </a:xfrm>
                <a:custGeom>
                  <a:avLst/>
                  <a:gdLst>
                    <a:gd name="T0" fmla="*/ 505 w 654"/>
                    <a:gd name="T1" fmla="*/ 56 h 694"/>
                    <a:gd name="T2" fmla="*/ 531 w 654"/>
                    <a:gd name="T3" fmla="*/ 78 h 694"/>
                    <a:gd name="T4" fmla="*/ 558 w 654"/>
                    <a:gd name="T5" fmla="*/ 181 h 694"/>
                    <a:gd name="T6" fmla="*/ 618 w 654"/>
                    <a:gd name="T7" fmla="*/ 287 h 694"/>
                    <a:gd name="T8" fmla="*/ 653 w 654"/>
                    <a:gd name="T9" fmla="*/ 395 h 694"/>
                    <a:gd name="T10" fmla="*/ 628 w 654"/>
                    <a:gd name="T11" fmla="*/ 495 h 694"/>
                    <a:gd name="T12" fmla="*/ 602 w 654"/>
                    <a:gd name="T13" fmla="*/ 559 h 694"/>
                    <a:gd name="T14" fmla="*/ 587 w 654"/>
                    <a:gd name="T15" fmla="*/ 621 h 694"/>
                    <a:gd name="T16" fmla="*/ 571 w 654"/>
                    <a:gd name="T17" fmla="*/ 657 h 694"/>
                    <a:gd name="T18" fmla="*/ 540 w 654"/>
                    <a:gd name="T19" fmla="*/ 682 h 694"/>
                    <a:gd name="T20" fmla="*/ 490 w 654"/>
                    <a:gd name="T21" fmla="*/ 674 h 694"/>
                    <a:gd name="T22" fmla="*/ 439 w 654"/>
                    <a:gd name="T23" fmla="*/ 657 h 694"/>
                    <a:gd name="T24" fmla="*/ 412 w 654"/>
                    <a:gd name="T25" fmla="*/ 618 h 694"/>
                    <a:gd name="T26" fmla="*/ 404 w 654"/>
                    <a:gd name="T27" fmla="*/ 568 h 694"/>
                    <a:gd name="T28" fmla="*/ 387 w 654"/>
                    <a:gd name="T29" fmla="*/ 545 h 694"/>
                    <a:gd name="T30" fmla="*/ 360 w 654"/>
                    <a:gd name="T31" fmla="*/ 548 h 694"/>
                    <a:gd name="T32" fmla="*/ 334 w 654"/>
                    <a:gd name="T33" fmla="*/ 509 h 694"/>
                    <a:gd name="T34" fmla="*/ 313 w 654"/>
                    <a:gd name="T35" fmla="*/ 504 h 694"/>
                    <a:gd name="T36" fmla="*/ 278 w 654"/>
                    <a:gd name="T37" fmla="*/ 509 h 694"/>
                    <a:gd name="T38" fmla="*/ 249 w 654"/>
                    <a:gd name="T39" fmla="*/ 515 h 694"/>
                    <a:gd name="T40" fmla="*/ 223 w 654"/>
                    <a:gd name="T41" fmla="*/ 537 h 694"/>
                    <a:gd name="T42" fmla="*/ 187 w 654"/>
                    <a:gd name="T43" fmla="*/ 554 h 694"/>
                    <a:gd name="T44" fmla="*/ 150 w 654"/>
                    <a:gd name="T45" fmla="*/ 579 h 694"/>
                    <a:gd name="T46" fmla="*/ 130 w 654"/>
                    <a:gd name="T47" fmla="*/ 590 h 694"/>
                    <a:gd name="T48" fmla="*/ 76 w 654"/>
                    <a:gd name="T49" fmla="*/ 584 h 694"/>
                    <a:gd name="T50" fmla="*/ 64 w 654"/>
                    <a:gd name="T51" fmla="*/ 571 h 694"/>
                    <a:gd name="T52" fmla="*/ 64 w 654"/>
                    <a:gd name="T53" fmla="*/ 495 h 694"/>
                    <a:gd name="T54" fmla="*/ 47 w 654"/>
                    <a:gd name="T55" fmla="*/ 451 h 694"/>
                    <a:gd name="T56" fmla="*/ 29 w 654"/>
                    <a:gd name="T57" fmla="*/ 415 h 694"/>
                    <a:gd name="T58" fmla="*/ 6 w 654"/>
                    <a:gd name="T59" fmla="*/ 287 h 694"/>
                    <a:gd name="T60" fmla="*/ 8 w 654"/>
                    <a:gd name="T61" fmla="*/ 245 h 694"/>
                    <a:gd name="T62" fmla="*/ 54 w 654"/>
                    <a:gd name="T63" fmla="*/ 223 h 694"/>
                    <a:gd name="T64" fmla="*/ 89 w 654"/>
                    <a:gd name="T65" fmla="*/ 217 h 694"/>
                    <a:gd name="T66" fmla="*/ 109 w 654"/>
                    <a:gd name="T67" fmla="*/ 206 h 694"/>
                    <a:gd name="T68" fmla="*/ 120 w 654"/>
                    <a:gd name="T69" fmla="*/ 170 h 694"/>
                    <a:gd name="T70" fmla="*/ 117 w 654"/>
                    <a:gd name="T71" fmla="*/ 150 h 694"/>
                    <a:gd name="T72" fmla="*/ 163 w 654"/>
                    <a:gd name="T73" fmla="*/ 100 h 694"/>
                    <a:gd name="T74" fmla="*/ 200 w 654"/>
                    <a:gd name="T75" fmla="*/ 64 h 694"/>
                    <a:gd name="T76" fmla="*/ 233 w 654"/>
                    <a:gd name="T77" fmla="*/ 89 h 694"/>
                    <a:gd name="T78" fmla="*/ 258 w 654"/>
                    <a:gd name="T79" fmla="*/ 61 h 694"/>
                    <a:gd name="T80" fmla="*/ 284 w 654"/>
                    <a:gd name="T81" fmla="*/ 28 h 694"/>
                    <a:gd name="T82" fmla="*/ 311 w 654"/>
                    <a:gd name="T83" fmla="*/ 8 h 694"/>
                    <a:gd name="T84" fmla="*/ 354 w 654"/>
                    <a:gd name="T85" fmla="*/ 14 h 694"/>
                    <a:gd name="T86" fmla="*/ 369 w 654"/>
                    <a:gd name="T87" fmla="*/ 39 h 694"/>
                    <a:gd name="T88" fmla="*/ 369 w 654"/>
                    <a:gd name="T89" fmla="*/ 70 h 694"/>
                    <a:gd name="T90" fmla="*/ 406 w 654"/>
                    <a:gd name="T91" fmla="*/ 125 h 694"/>
                    <a:gd name="T92" fmla="*/ 437 w 654"/>
                    <a:gd name="T93" fmla="*/ 142 h 694"/>
                    <a:gd name="T94" fmla="*/ 463 w 654"/>
                    <a:gd name="T95" fmla="*/ 89 h 694"/>
                    <a:gd name="T96" fmla="*/ 470 w 654"/>
                    <a:gd name="T97" fmla="*/ 0 h 6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654" h="694">
                      <a:moveTo>
                        <a:pt x="470" y="0"/>
                      </a:moveTo>
                      <a:lnTo>
                        <a:pt x="505" y="0"/>
                      </a:lnTo>
                      <a:lnTo>
                        <a:pt x="505" y="56"/>
                      </a:lnTo>
                      <a:lnTo>
                        <a:pt x="519" y="70"/>
                      </a:lnTo>
                      <a:lnTo>
                        <a:pt x="523" y="78"/>
                      </a:lnTo>
                      <a:lnTo>
                        <a:pt x="531" y="78"/>
                      </a:lnTo>
                      <a:lnTo>
                        <a:pt x="534" y="89"/>
                      </a:lnTo>
                      <a:lnTo>
                        <a:pt x="538" y="145"/>
                      </a:lnTo>
                      <a:lnTo>
                        <a:pt x="558" y="181"/>
                      </a:lnTo>
                      <a:lnTo>
                        <a:pt x="587" y="234"/>
                      </a:lnTo>
                      <a:lnTo>
                        <a:pt x="587" y="242"/>
                      </a:lnTo>
                      <a:lnTo>
                        <a:pt x="618" y="287"/>
                      </a:lnTo>
                      <a:lnTo>
                        <a:pt x="618" y="295"/>
                      </a:lnTo>
                      <a:lnTo>
                        <a:pt x="649" y="331"/>
                      </a:lnTo>
                      <a:lnTo>
                        <a:pt x="653" y="395"/>
                      </a:lnTo>
                      <a:lnTo>
                        <a:pt x="649" y="454"/>
                      </a:lnTo>
                      <a:lnTo>
                        <a:pt x="639" y="481"/>
                      </a:lnTo>
                      <a:lnTo>
                        <a:pt x="628" y="495"/>
                      </a:lnTo>
                      <a:lnTo>
                        <a:pt x="624" y="523"/>
                      </a:lnTo>
                      <a:lnTo>
                        <a:pt x="612" y="548"/>
                      </a:lnTo>
                      <a:lnTo>
                        <a:pt x="602" y="559"/>
                      </a:lnTo>
                      <a:lnTo>
                        <a:pt x="604" y="568"/>
                      </a:lnTo>
                      <a:lnTo>
                        <a:pt x="593" y="584"/>
                      </a:lnTo>
                      <a:lnTo>
                        <a:pt x="587" y="621"/>
                      </a:lnTo>
                      <a:lnTo>
                        <a:pt x="585" y="640"/>
                      </a:lnTo>
                      <a:lnTo>
                        <a:pt x="573" y="648"/>
                      </a:lnTo>
                      <a:lnTo>
                        <a:pt x="571" y="657"/>
                      </a:lnTo>
                      <a:lnTo>
                        <a:pt x="564" y="674"/>
                      </a:lnTo>
                      <a:lnTo>
                        <a:pt x="550" y="676"/>
                      </a:lnTo>
                      <a:lnTo>
                        <a:pt x="540" y="682"/>
                      </a:lnTo>
                      <a:lnTo>
                        <a:pt x="527" y="693"/>
                      </a:lnTo>
                      <a:lnTo>
                        <a:pt x="509" y="671"/>
                      </a:lnTo>
                      <a:lnTo>
                        <a:pt x="490" y="674"/>
                      </a:lnTo>
                      <a:lnTo>
                        <a:pt x="484" y="674"/>
                      </a:lnTo>
                      <a:lnTo>
                        <a:pt x="457" y="679"/>
                      </a:lnTo>
                      <a:lnTo>
                        <a:pt x="439" y="657"/>
                      </a:lnTo>
                      <a:lnTo>
                        <a:pt x="428" y="635"/>
                      </a:lnTo>
                      <a:lnTo>
                        <a:pt x="420" y="637"/>
                      </a:lnTo>
                      <a:lnTo>
                        <a:pt x="412" y="618"/>
                      </a:lnTo>
                      <a:lnTo>
                        <a:pt x="408" y="601"/>
                      </a:lnTo>
                      <a:lnTo>
                        <a:pt x="404" y="596"/>
                      </a:lnTo>
                      <a:lnTo>
                        <a:pt x="404" y="568"/>
                      </a:lnTo>
                      <a:lnTo>
                        <a:pt x="406" y="551"/>
                      </a:lnTo>
                      <a:lnTo>
                        <a:pt x="402" y="540"/>
                      </a:lnTo>
                      <a:lnTo>
                        <a:pt x="387" y="545"/>
                      </a:lnTo>
                      <a:lnTo>
                        <a:pt x="379" y="548"/>
                      </a:lnTo>
                      <a:lnTo>
                        <a:pt x="365" y="548"/>
                      </a:lnTo>
                      <a:lnTo>
                        <a:pt x="360" y="548"/>
                      </a:lnTo>
                      <a:lnTo>
                        <a:pt x="354" y="548"/>
                      </a:lnTo>
                      <a:lnTo>
                        <a:pt x="344" y="532"/>
                      </a:lnTo>
                      <a:lnTo>
                        <a:pt x="334" y="509"/>
                      </a:lnTo>
                      <a:lnTo>
                        <a:pt x="332" y="512"/>
                      </a:lnTo>
                      <a:lnTo>
                        <a:pt x="315" y="512"/>
                      </a:lnTo>
                      <a:lnTo>
                        <a:pt x="313" y="504"/>
                      </a:lnTo>
                      <a:lnTo>
                        <a:pt x="303" y="512"/>
                      </a:lnTo>
                      <a:lnTo>
                        <a:pt x="293" y="509"/>
                      </a:lnTo>
                      <a:lnTo>
                        <a:pt x="278" y="509"/>
                      </a:lnTo>
                      <a:lnTo>
                        <a:pt x="268" y="504"/>
                      </a:lnTo>
                      <a:lnTo>
                        <a:pt x="264" y="512"/>
                      </a:lnTo>
                      <a:lnTo>
                        <a:pt x="249" y="515"/>
                      </a:lnTo>
                      <a:lnTo>
                        <a:pt x="245" y="509"/>
                      </a:lnTo>
                      <a:lnTo>
                        <a:pt x="235" y="523"/>
                      </a:lnTo>
                      <a:lnTo>
                        <a:pt x="223" y="537"/>
                      </a:lnTo>
                      <a:lnTo>
                        <a:pt x="216" y="537"/>
                      </a:lnTo>
                      <a:lnTo>
                        <a:pt x="204" y="554"/>
                      </a:lnTo>
                      <a:lnTo>
                        <a:pt x="187" y="554"/>
                      </a:lnTo>
                      <a:lnTo>
                        <a:pt x="173" y="559"/>
                      </a:lnTo>
                      <a:lnTo>
                        <a:pt x="157" y="568"/>
                      </a:lnTo>
                      <a:lnTo>
                        <a:pt x="150" y="579"/>
                      </a:lnTo>
                      <a:lnTo>
                        <a:pt x="144" y="576"/>
                      </a:lnTo>
                      <a:lnTo>
                        <a:pt x="138" y="587"/>
                      </a:lnTo>
                      <a:lnTo>
                        <a:pt x="130" y="590"/>
                      </a:lnTo>
                      <a:lnTo>
                        <a:pt x="120" y="604"/>
                      </a:lnTo>
                      <a:lnTo>
                        <a:pt x="89" y="604"/>
                      </a:lnTo>
                      <a:lnTo>
                        <a:pt x="76" y="584"/>
                      </a:lnTo>
                      <a:lnTo>
                        <a:pt x="74" y="576"/>
                      </a:lnTo>
                      <a:lnTo>
                        <a:pt x="70" y="584"/>
                      </a:lnTo>
                      <a:lnTo>
                        <a:pt x="64" y="571"/>
                      </a:lnTo>
                      <a:lnTo>
                        <a:pt x="66" y="534"/>
                      </a:lnTo>
                      <a:lnTo>
                        <a:pt x="70" y="512"/>
                      </a:lnTo>
                      <a:lnTo>
                        <a:pt x="64" y="495"/>
                      </a:lnTo>
                      <a:lnTo>
                        <a:pt x="58" y="479"/>
                      </a:lnTo>
                      <a:lnTo>
                        <a:pt x="56" y="459"/>
                      </a:lnTo>
                      <a:lnTo>
                        <a:pt x="47" y="451"/>
                      </a:lnTo>
                      <a:lnTo>
                        <a:pt x="45" y="448"/>
                      </a:lnTo>
                      <a:lnTo>
                        <a:pt x="43" y="440"/>
                      </a:lnTo>
                      <a:lnTo>
                        <a:pt x="29" y="415"/>
                      </a:lnTo>
                      <a:lnTo>
                        <a:pt x="12" y="353"/>
                      </a:lnTo>
                      <a:lnTo>
                        <a:pt x="6" y="312"/>
                      </a:lnTo>
                      <a:lnTo>
                        <a:pt x="6" y="287"/>
                      </a:lnTo>
                      <a:lnTo>
                        <a:pt x="0" y="278"/>
                      </a:lnTo>
                      <a:lnTo>
                        <a:pt x="2" y="256"/>
                      </a:lnTo>
                      <a:lnTo>
                        <a:pt x="8" y="245"/>
                      </a:lnTo>
                      <a:lnTo>
                        <a:pt x="29" y="214"/>
                      </a:lnTo>
                      <a:lnTo>
                        <a:pt x="51" y="217"/>
                      </a:lnTo>
                      <a:lnTo>
                        <a:pt x="54" y="223"/>
                      </a:lnTo>
                      <a:lnTo>
                        <a:pt x="82" y="223"/>
                      </a:lnTo>
                      <a:lnTo>
                        <a:pt x="84" y="214"/>
                      </a:lnTo>
                      <a:lnTo>
                        <a:pt x="89" y="217"/>
                      </a:lnTo>
                      <a:lnTo>
                        <a:pt x="97" y="209"/>
                      </a:lnTo>
                      <a:lnTo>
                        <a:pt x="103" y="212"/>
                      </a:lnTo>
                      <a:lnTo>
                        <a:pt x="109" y="206"/>
                      </a:lnTo>
                      <a:lnTo>
                        <a:pt x="107" y="198"/>
                      </a:lnTo>
                      <a:lnTo>
                        <a:pt x="113" y="178"/>
                      </a:lnTo>
                      <a:lnTo>
                        <a:pt x="120" y="170"/>
                      </a:lnTo>
                      <a:lnTo>
                        <a:pt x="117" y="164"/>
                      </a:lnTo>
                      <a:lnTo>
                        <a:pt x="120" y="159"/>
                      </a:lnTo>
                      <a:lnTo>
                        <a:pt x="117" y="150"/>
                      </a:lnTo>
                      <a:lnTo>
                        <a:pt x="128" y="136"/>
                      </a:lnTo>
                      <a:lnTo>
                        <a:pt x="146" y="134"/>
                      </a:lnTo>
                      <a:lnTo>
                        <a:pt x="163" y="100"/>
                      </a:lnTo>
                      <a:lnTo>
                        <a:pt x="185" y="72"/>
                      </a:lnTo>
                      <a:lnTo>
                        <a:pt x="194" y="70"/>
                      </a:lnTo>
                      <a:lnTo>
                        <a:pt x="200" y="64"/>
                      </a:lnTo>
                      <a:lnTo>
                        <a:pt x="210" y="64"/>
                      </a:lnTo>
                      <a:lnTo>
                        <a:pt x="227" y="86"/>
                      </a:lnTo>
                      <a:lnTo>
                        <a:pt x="233" y="89"/>
                      </a:lnTo>
                      <a:lnTo>
                        <a:pt x="239" y="78"/>
                      </a:lnTo>
                      <a:lnTo>
                        <a:pt x="251" y="64"/>
                      </a:lnTo>
                      <a:lnTo>
                        <a:pt x="258" y="61"/>
                      </a:lnTo>
                      <a:lnTo>
                        <a:pt x="266" y="39"/>
                      </a:lnTo>
                      <a:lnTo>
                        <a:pt x="274" y="36"/>
                      </a:lnTo>
                      <a:lnTo>
                        <a:pt x="284" y="28"/>
                      </a:lnTo>
                      <a:lnTo>
                        <a:pt x="293" y="19"/>
                      </a:lnTo>
                      <a:lnTo>
                        <a:pt x="303" y="19"/>
                      </a:lnTo>
                      <a:lnTo>
                        <a:pt x="311" y="8"/>
                      </a:lnTo>
                      <a:lnTo>
                        <a:pt x="323" y="8"/>
                      </a:lnTo>
                      <a:lnTo>
                        <a:pt x="336" y="8"/>
                      </a:lnTo>
                      <a:lnTo>
                        <a:pt x="354" y="14"/>
                      </a:lnTo>
                      <a:lnTo>
                        <a:pt x="365" y="25"/>
                      </a:lnTo>
                      <a:lnTo>
                        <a:pt x="367" y="33"/>
                      </a:lnTo>
                      <a:lnTo>
                        <a:pt x="369" y="39"/>
                      </a:lnTo>
                      <a:lnTo>
                        <a:pt x="371" y="53"/>
                      </a:lnTo>
                      <a:lnTo>
                        <a:pt x="369" y="58"/>
                      </a:lnTo>
                      <a:lnTo>
                        <a:pt x="369" y="70"/>
                      </a:lnTo>
                      <a:lnTo>
                        <a:pt x="367" y="78"/>
                      </a:lnTo>
                      <a:lnTo>
                        <a:pt x="396" y="109"/>
                      </a:lnTo>
                      <a:lnTo>
                        <a:pt x="406" y="125"/>
                      </a:lnTo>
                      <a:lnTo>
                        <a:pt x="418" y="131"/>
                      </a:lnTo>
                      <a:lnTo>
                        <a:pt x="430" y="139"/>
                      </a:lnTo>
                      <a:lnTo>
                        <a:pt x="437" y="142"/>
                      </a:lnTo>
                      <a:lnTo>
                        <a:pt x="449" y="134"/>
                      </a:lnTo>
                      <a:lnTo>
                        <a:pt x="459" y="109"/>
                      </a:lnTo>
                      <a:lnTo>
                        <a:pt x="463" y="89"/>
                      </a:lnTo>
                      <a:lnTo>
                        <a:pt x="466" y="53"/>
                      </a:lnTo>
                      <a:lnTo>
                        <a:pt x="470" y="36"/>
                      </a:lnTo>
                      <a:lnTo>
                        <a:pt x="470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0" name="Freeform 16"/>
                <p:cNvSpPr>
                  <a:spLocks/>
                </p:cNvSpPr>
                <p:nvPr/>
              </p:nvSpPr>
              <p:spPr bwMode="auto">
                <a:xfrm>
                  <a:off x="4523" y="2653"/>
                  <a:ext cx="363" cy="95"/>
                </a:xfrm>
                <a:custGeom>
                  <a:avLst/>
                  <a:gdLst>
                    <a:gd name="T0" fmla="*/ 27 w 363"/>
                    <a:gd name="T1" fmla="*/ 14 h 95"/>
                    <a:gd name="T2" fmla="*/ 72 w 363"/>
                    <a:gd name="T3" fmla="*/ 14 h 95"/>
                    <a:gd name="T4" fmla="*/ 99 w 363"/>
                    <a:gd name="T5" fmla="*/ 17 h 95"/>
                    <a:gd name="T6" fmla="*/ 123 w 363"/>
                    <a:gd name="T7" fmla="*/ 44 h 95"/>
                    <a:gd name="T8" fmla="*/ 144 w 363"/>
                    <a:gd name="T9" fmla="*/ 50 h 95"/>
                    <a:gd name="T10" fmla="*/ 177 w 363"/>
                    <a:gd name="T11" fmla="*/ 61 h 95"/>
                    <a:gd name="T12" fmla="*/ 197 w 363"/>
                    <a:gd name="T13" fmla="*/ 66 h 95"/>
                    <a:gd name="T14" fmla="*/ 204 w 363"/>
                    <a:gd name="T15" fmla="*/ 44 h 95"/>
                    <a:gd name="T16" fmla="*/ 247 w 363"/>
                    <a:gd name="T17" fmla="*/ 50 h 95"/>
                    <a:gd name="T18" fmla="*/ 278 w 363"/>
                    <a:gd name="T19" fmla="*/ 58 h 95"/>
                    <a:gd name="T20" fmla="*/ 300 w 363"/>
                    <a:gd name="T21" fmla="*/ 61 h 95"/>
                    <a:gd name="T22" fmla="*/ 315 w 363"/>
                    <a:gd name="T23" fmla="*/ 50 h 95"/>
                    <a:gd name="T24" fmla="*/ 341 w 363"/>
                    <a:gd name="T25" fmla="*/ 44 h 95"/>
                    <a:gd name="T26" fmla="*/ 362 w 363"/>
                    <a:gd name="T27" fmla="*/ 39 h 95"/>
                    <a:gd name="T28" fmla="*/ 356 w 363"/>
                    <a:gd name="T29" fmla="*/ 66 h 95"/>
                    <a:gd name="T30" fmla="*/ 341 w 363"/>
                    <a:gd name="T31" fmla="*/ 75 h 95"/>
                    <a:gd name="T32" fmla="*/ 329 w 363"/>
                    <a:gd name="T33" fmla="*/ 77 h 95"/>
                    <a:gd name="T34" fmla="*/ 313 w 363"/>
                    <a:gd name="T35" fmla="*/ 86 h 95"/>
                    <a:gd name="T36" fmla="*/ 298 w 363"/>
                    <a:gd name="T37" fmla="*/ 86 h 95"/>
                    <a:gd name="T38" fmla="*/ 284 w 363"/>
                    <a:gd name="T39" fmla="*/ 88 h 95"/>
                    <a:gd name="T40" fmla="*/ 263 w 363"/>
                    <a:gd name="T41" fmla="*/ 94 h 95"/>
                    <a:gd name="T42" fmla="*/ 249 w 363"/>
                    <a:gd name="T43" fmla="*/ 75 h 95"/>
                    <a:gd name="T44" fmla="*/ 234 w 363"/>
                    <a:gd name="T45" fmla="*/ 94 h 95"/>
                    <a:gd name="T46" fmla="*/ 212 w 363"/>
                    <a:gd name="T47" fmla="*/ 75 h 95"/>
                    <a:gd name="T48" fmla="*/ 200 w 363"/>
                    <a:gd name="T49" fmla="*/ 77 h 95"/>
                    <a:gd name="T50" fmla="*/ 183 w 363"/>
                    <a:gd name="T51" fmla="*/ 86 h 95"/>
                    <a:gd name="T52" fmla="*/ 165 w 363"/>
                    <a:gd name="T53" fmla="*/ 80 h 95"/>
                    <a:gd name="T54" fmla="*/ 146 w 363"/>
                    <a:gd name="T55" fmla="*/ 77 h 95"/>
                    <a:gd name="T56" fmla="*/ 127 w 363"/>
                    <a:gd name="T57" fmla="*/ 86 h 95"/>
                    <a:gd name="T58" fmla="*/ 101 w 363"/>
                    <a:gd name="T59" fmla="*/ 72 h 95"/>
                    <a:gd name="T60" fmla="*/ 66 w 363"/>
                    <a:gd name="T61" fmla="*/ 64 h 95"/>
                    <a:gd name="T62" fmla="*/ 41 w 363"/>
                    <a:gd name="T63" fmla="*/ 55 h 95"/>
                    <a:gd name="T64" fmla="*/ 16 w 363"/>
                    <a:gd name="T65" fmla="*/ 41 h 95"/>
                    <a:gd name="T66" fmla="*/ 2 w 363"/>
                    <a:gd name="T67" fmla="*/ 36 h 95"/>
                    <a:gd name="T68" fmla="*/ 0 w 363"/>
                    <a:gd name="T69" fmla="*/ 0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363" h="95">
                      <a:moveTo>
                        <a:pt x="0" y="0"/>
                      </a:moveTo>
                      <a:lnTo>
                        <a:pt x="27" y="14"/>
                      </a:lnTo>
                      <a:lnTo>
                        <a:pt x="51" y="14"/>
                      </a:lnTo>
                      <a:lnTo>
                        <a:pt x="72" y="14"/>
                      </a:lnTo>
                      <a:lnTo>
                        <a:pt x="88" y="14"/>
                      </a:lnTo>
                      <a:lnTo>
                        <a:pt x="99" y="17"/>
                      </a:lnTo>
                      <a:lnTo>
                        <a:pt x="115" y="25"/>
                      </a:lnTo>
                      <a:lnTo>
                        <a:pt x="123" y="44"/>
                      </a:lnTo>
                      <a:lnTo>
                        <a:pt x="130" y="53"/>
                      </a:lnTo>
                      <a:lnTo>
                        <a:pt x="144" y="50"/>
                      </a:lnTo>
                      <a:lnTo>
                        <a:pt x="160" y="50"/>
                      </a:lnTo>
                      <a:lnTo>
                        <a:pt x="177" y="61"/>
                      </a:lnTo>
                      <a:lnTo>
                        <a:pt x="189" y="66"/>
                      </a:lnTo>
                      <a:lnTo>
                        <a:pt x="197" y="66"/>
                      </a:lnTo>
                      <a:lnTo>
                        <a:pt x="199" y="53"/>
                      </a:lnTo>
                      <a:lnTo>
                        <a:pt x="204" y="44"/>
                      </a:lnTo>
                      <a:lnTo>
                        <a:pt x="228" y="50"/>
                      </a:lnTo>
                      <a:lnTo>
                        <a:pt x="247" y="50"/>
                      </a:lnTo>
                      <a:lnTo>
                        <a:pt x="265" y="50"/>
                      </a:lnTo>
                      <a:lnTo>
                        <a:pt x="278" y="58"/>
                      </a:lnTo>
                      <a:lnTo>
                        <a:pt x="286" y="64"/>
                      </a:lnTo>
                      <a:lnTo>
                        <a:pt x="300" y="61"/>
                      </a:lnTo>
                      <a:lnTo>
                        <a:pt x="309" y="55"/>
                      </a:lnTo>
                      <a:lnTo>
                        <a:pt x="315" y="50"/>
                      </a:lnTo>
                      <a:lnTo>
                        <a:pt x="331" y="50"/>
                      </a:lnTo>
                      <a:lnTo>
                        <a:pt x="341" y="44"/>
                      </a:lnTo>
                      <a:lnTo>
                        <a:pt x="354" y="39"/>
                      </a:lnTo>
                      <a:lnTo>
                        <a:pt x="362" y="39"/>
                      </a:lnTo>
                      <a:lnTo>
                        <a:pt x="360" y="58"/>
                      </a:lnTo>
                      <a:lnTo>
                        <a:pt x="356" y="66"/>
                      </a:lnTo>
                      <a:lnTo>
                        <a:pt x="348" y="75"/>
                      </a:lnTo>
                      <a:lnTo>
                        <a:pt x="341" y="75"/>
                      </a:lnTo>
                      <a:lnTo>
                        <a:pt x="339" y="75"/>
                      </a:lnTo>
                      <a:lnTo>
                        <a:pt x="329" y="77"/>
                      </a:lnTo>
                      <a:lnTo>
                        <a:pt x="321" y="88"/>
                      </a:lnTo>
                      <a:lnTo>
                        <a:pt x="313" y="86"/>
                      </a:lnTo>
                      <a:lnTo>
                        <a:pt x="306" y="80"/>
                      </a:lnTo>
                      <a:lnTo>
                        <a:pt x="298" y="86"/>
                      </a:lnTo>
                      <a:lnTo>
                        <a:pt x="290" y="88"/>
                      </a:lnTo>
                      <a:lnTo>
                        <a:pt x="284" y="88"/>
                      </a:lnTo>
                      <a:lnTo>
                        <a:pt x="278" y="94"/>
                      </a:lnTo>
                      <a:lnTo>
                        <a:pt x="263" y="94"/>
                      </a:lnTo>
                      <a:lnTo>
                        <a:pt x="257" y="86"/>
                      </a:lnTo>
                      <a:lnTo>
                        <a:pt x="249" y="75"/>
                      </a:lnTo>
                      <a:lnTo>
                        <a:pt x="239" y="86"/>
                      </a:lnTo>
                      <a:lnTo>
                        <a:pt x="234" y="94"/>
                      </a:lnTo>
                      <a:lnTo>
                        <a:pt x="226" y="94"/>
                      </a:lnTo>
                      <a:lnTo>
                        <a:pt x="212" y="75"/>
                      </a:lnTo>
                      <a:lnTo>
                        <a:pt x="208" y="77"/>
                      </a:lnTo>
                      <a:lnTo>
                        <a:pt x="200" y="77"/>
                      </a:lnTo>
                      <a:lnTo>
                        <a:pt x="195" y="88"/>
                      </a:lnTo>
                      <a:lnTo>
                        <a:pt x="183" y="86"/>
                      </a:lnTo>
                      <a:lnTo>
                        <a:pt x="171" y="86"/>
                      </a:lnTo>
                      <a:lnTo>
                        <a:pt x="165" y="80"/>
                      </a:lnTo>
                      <a:lnTo>
                        <a:pt x="158" y="75"/>
                      </a:lnTo>
                      <a:lnTo>
                        <a:pt x="146" y="77"/>
                      </a:lnTo>
                      <a:lnTo>
                        <a:pt x="134" y="88"/>
                      </a:lnTo>
                      <a:lnTo>
                        <a:pt x="127" y="86"/>
                      </a:lnTo>
                      <a:lnTo>
                        <a:pt x="115" y="80"/>
                      </a:lnTo>
                      <a:lnTo>
                        <a:pt x="101" y="72"/>
                      </a:lnTo>
                      <a:lnTo>
                        <a:pt x="90" y="72"/>
                      </a:lnTo>
                      <a:lnTo>
                        <a:pt x="66" y="64"/>
                      </a:lnTo>
                      <a:lnTo>
                        <a:pt x="51" y="58"/>
                      </a:lnTo>
                      <a:lnTo>
                        <a:pt x="41" y="55"/>
                      </a:lnTo>
                      <a:lnTo>
                        <a:pt x="25" y="53"/>
                      </a:lnTo>
                      <a:lnTo>
                        <a:pt x="16" y="41"/>
                      </a:lnTo>
                      <a:lnTo>
                        <a:pt x="6" y="39"/>
                      </a:lnTo>
                      <a:lnTo>
                        <a:pt x="2" y="36"/>
                      </a:lnTo>
                      <a:lnTo>
                        <a:pt x="0" y="3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1" name="Freeform 17"/>
                <p:cNvSpPr>
                  <a:spLocks/>
                </p:cNvSpPr>
                <p:nvPr/>
              </p:nvSpPr>
              <p:spPr bwMode="auto">
                <a:xfrm>
                  <a:off x="4721" y="2468"/>
                  <a:ext cx="165" cy="182"/>
                </a:xfrm>
                <a:custGeom>
                  <a:avLst/>
                  <a:gdLst>
                    <a:gd name="T0" fmla="*/ 80 w 165"/>
                    <a:gd name="T1" fmla="*/ 3 h 182"/>
                    <a:gd name="T2" fmla="*/ 137 w 165"/>
                    <a:gd name="T3" fmla="*/ 0 h 182"/>
                    <a:gd name="T4" fmla="*/ 146 w 165"/>
                    <a:gd name="T5" fmla="*/ 22 h 182"/>
                    <a:gd name="T6" fmla="*/ 131 w 165"/>
                    <a:gd name="T7" fmla="*/ 36 h 182"/>
                    <a:gd name="T8" fmla="*/ 127 w 165"/>
                    <a:gd name="T9" fmla="*/ 47 h 182"/>
                    <a:gd name="T10" fmla="*/ 115 w 165"/>
                    <a:gd name="T11" fmla="*/ 61 h 182"/>
                    <a:gd name="T12" fmla="*/ 102 w 165"/>
                    <a:gd name="T13" fmla="*/ 64 h 182"/>
                    <a:gd name="T14" fmla="*/ 88 w 165"/>
                    <a:gd name="T15" fmla="*/ 56 h 182"/>
                    <a:gd name="T16" fmla="*/ 72 w 165"/>
                    <a:gd name="T17" fmla="*/ 36 h 182"/>
                    <a:gd name="T18" fmla="*/ 53 w 165"/>
                    <a:gd name="T19" fmla="*/ 36 h 182"/>
                    <a:gd name="T20" fmla="*/ 51 w 165"/>
                    <a:gd name="T21" fmla="*/ 64 h 182"/>
                    <a:gd name="T22" fmla="*/ 53 w 165"/>
                    <a:gd name="T23" fmla="*/ 81 h 182"/>
                    <a:gd name="T24" fmla="*/ 72 w 165"/>
                    <a:gd name="T25" fmla="*/ 70 h 182"/>
                    <a:gd name="T26" fmla="*/ 86 w 165"/>
                    <a:gd name="T27" fmla="*/ 75 h 182"/>
                    <a:gd name="T28" fmla="*/ 82 w 165"/>
                    <a:gd name="T29" fmla="*/ 92 h 182"/>
                    <a:gd name="T30" fmla="*/ 80 w 165"/>
                    <a:gd name="T31" fmla="*/ 103 h 182"/>
                    <a:gd name="T32" fmla="*/ 82 w 165"/>
                    <a:gd name="T33" fmla="*/ 120 h 182"/>
                    <a:gd name="T34" fmla="*/ 92 w 165"/>
                    <a:gd name="T35" fmla="*/ 128 h 182"/>
                    <a:gd name="T36" fmla="*/ 88 w 165"/>
                    <a:gd name="T37" fmla="*/ 148 h 182"/>
                    <a:gd name="T38" fmla="*/ 82 w 165"/>
                    <a:gd name="T39" fmla="*/ 170 h 182"/>
                    <a:gd name="T40" fmla="*/ 68 w 165"/>
                    <a:gd name="T41" fmla="*/ 175 h 182"/>
                    <a:gd name="T42" fmla="*/ 62 w 165"/>
                    <a:gd name="T43" fmla="*/ 164 h 182"/>
                    <a:gd name="T44" fmla="*/ 55 w 165"/>
                    <a:gd name="T45" fmla="*/ 139 h 182"/>
                    <a:gd name="T46" fmla="*/ 55 w 165"/>
                    <a:gd name="T47" fmla="*/ 114 h 182"/>
                    <a:gd name="T48" fmla="*/ 35 w 165"/>
                    <a:gd name="T49" fmla="*/ 114 h 182"/>
                    <a:gd name="T50" fmla="*/ 23 w 165"/>
                    <a:gd name="T51" fmla="*/ 117 h 182"/>
                    <a:gd name="T52" fmla="*/ 39 w 165"/>
                    <a:gd name="T53" fmla="*/ 128 h 182"/>
                    <a:gd name="T54" fmla="*/ 47 w 165"/>
                    <a:gd name="T55" fmla="*/ 145 h 182"/>
                    <a:gd name="T56" fmla="*/ 41 w 165"/>
                    <a:gd name="T57" fmla="*/ 167 h 182"/>
                    <a:gd name="T58" fmla="*/ 29 w 165"/>
                    <a:gd name="T59" fmla="*/ 181 h 182"/>
                    <a:gd name="T60" fmla="*/ 29 w 165"/>
                    <a:gd name="T61" fmla="*/ 164 h 182"/>
                    <a:gd name="T62" fmla="*/ 21 w 165"/>
                    <a:gd name="T63" fmla="*/ 145 h 182"/>
                    <a:gd name="T64" fmla="*/ 10 w 165"/>
                    <a:gd name="T65" fmla="*/ 128 h 182"/>
                    <a:gd name="T66" fmla="*/ 2 w 165"/>
                    <a:gd name="T67" fmla="*/ 109 h 182"/>
                    <a:gd name="T68" fmla="*/ 16 w 165"/>
                    <a:gd name="T69" fmla="*/ 86 h 182"/>
                    <a:gd name="T70" fmla="*/ 23 w 165"/>
                    <a:gd name="T71" fmla="*/ 58 h 182"/>
                    <a:gd name="T72" fmla="*/ 25 w 165"/>
                    <a:gd name="T73" fmla="*/ 39 h 182"/>
                    <a:gd name="T74" fmla="*/ 23 w 165"/>
                    <a:gd name="T75" fmla="*/ 22 h 1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65" h="182">
                      <a:moveTo>
                        <a:pt x="41" y="0"/>
                      </a:moveTo>
                      <a:lnTo>
                        <a:pt x="80" y="3"/>
                      </a:lnTo>
                      <a:lnTo>
                        <a:pt x="117" y="3"/>
                      </a:lnTo>
                      <a:lnTo>
                        <a:pt x="137" y="0"/>
                      </a:lnTo>
                      <a:lnTo>
                        <a:pt x="164" y="17"/>
                      </a:lnTo>
                      <a:lnTo>
                        <a:pt x="146" y="22"/>
                      </a:lnTo>
                      <a:lnTo>
                        <a:pt x="137" y="31"/>
                      </a:lnTo>
                      <a:lnTo>
                        <a:pt x="131" y="36"/>
                      </a:lnTo>
                      <a:lnTo>
                        <a:pt x="127" y="42"/>
                      </a:lnTo>
                      <a:lnTo>
                        <a:pt x="127" y="47"/>
                      </a:lnTo>
                      <a:lnTo>
                        <a:pt x="127" y="56"/>
                      </a:lnTo>
                      <a:lnTo>
                        <a:pt x="115" y="61"/>
                      </a:lnTo>
                      <a:lnTo>
                        <a:pt x="105" y="61"/>
                      </a:lnTo>
                      <a:lnTo>
                        <a:pt x="102" y="64"/>
                      </a:lnTo>
                      <a:lnTo>
                        <a:pt x="92" y="64"/>
                      </a:lnTo>
                      <a:lnTo>
                        <a:pt x="88" y="56"/>
                      </a:lnTo>
                      <a:lnTo>
                        <a:pt x="80" y="45"/>
                      </a:lnTo>
                      <a:lnTo>
                        <a:pt x="72" y="36"/>
                      </a:lnTo>
                      <a:lnTo>
                        <a:pt x="57" y="36"/>
                      </a:lnTo>
                      <a:lnTo>
                        <a:pt x="53" y="36"/>
                      </a:lnTo>
                      <a:lnTo>
                        <a:pt x="49" y="50"/>
                      </a:lnTo>
                      <a:lnTo>
                        <a:pt x="51" y="64"/>
                      </a:lnTo>
                      <a:lnTo>
                        <a:pt x="51" y="72"/>
                      </a:lnTo>
                      <a:lnTo>
                        <a:pt x="53" y="81"/>
                      </a:lnTo>
                      <a:lnTo>
                        <a:pt x="61" y="78"/>
                      </a:lnTo>
                      <a:lnTo>
                        <a:pt x="72" y="70"/>
                      </a:lnTo>
                      <a:lnTo>
                        <a:pt x="80" y="70"/>
                      </a:lnTo>
                      <a:lnTo>
                        <a:pt x="86" y="75"/>
                      </a:lnTo>
                      <a:lnTo>
                        <a:pt x="86" y="81"/>
                      </a:lnTo>
                      <a:lnTo>
                        <a:pt x="82" y="92"/>
                      </a:lnTo>
                      <a:lnTo>
                        <a:pt x="80" y="97"/>
                      </a:lnTo>
                      <a:lnTo>
                        <a:pt x="80" y="103"/>
                      </a:lnTo>
                      <a:lnTo>
                        <a:pt x="78" y="111"/>
                      </a:lnTo>
                      <a:lnTo>
                        <a:pt x="82" y="120"/>
                      </a:lnTo>
                      <a:lnTo>
                        <a:pt x="90" y="131"/>
                      </a:lnTo>
                      <a:lnTo>
                        <a:pt x="92" y="128"/>
                      </a:lnTo>
                      <a:lnTo>
                        <a:pt x="92" y="139"/>
                      </a:lnTo>
                      <a:lnTo>
                        <a:pt x="88" y="148"/>
                      </a:lnTo>
                      <a:lnTo>
                        <a:pt x="84" y="156"/>
                      </a:lnTo>
                      <a:lnTo>
                        <a:pt x="82" y="170"/>
                      </a:lnTo>
                      <a:lnTo>
                        <a:pt x="74" y="175"/>
                      </a:lnTo>
                      <a:lnTo>
                        <a:pt x="68" y="175"/>
                      </a:lnTo>
                      <a:lnTo>
                        <a:pt x="62" y="175"/>
                      </a:lnTo>
                      <a:lnTo>
                        <a:pt x="62" y="164"/>
                      </a:lnTo>
                      <a:lnTo>
                        <a:pt x="61" y="145"/>
                      </a:lnTo>
                      <a:lnTo>
                        <a:pt x="55" y="139"/>
                      </a:lnTo>
                      <a:lnTo>
                        <a:pt x="53" y="131"/>
                      </a:lnTo>
                      <a:lnTo>
                        <a:pt x="55" y="114"/>
                      </a:lnTo>
                      <a:lnTo>
                        <a:pt x="49" y="109"/>
                      </a:lnTo>
                      <a:lnTo>
                        <a:pt x="35" y="114"/>
                      </a:lnTo>
                      <a:lnTo>
                        <a:pt x="29" y="109"/>
                      </a:lnTo>
                      <a:lnTo>
                        <a:pt x="23" y="117"/>
                      </a:lnTo>
                      <a:lnTo>
                        <a:pt x="29" y="123"/>
                      </a:lnTo>
                      <a:lnTo>
                        <a:pt x="39" y="128"/>
                      </a:lnTo>
                      <a:lnTo>
                        <a:pt x="41" y="134"/>
                      </a:lnTo>
                      <a:lnTo>
                        <a:pt x="47" y="145"/>
                      </a:lnTo>
                      <a:lnTo>
                        <a:pt x="47" y="153"/>
                      </a:lnTo>
                      <a:lnTo>
                        <a:pt x="41" y="167"/>
                      </a:lnTo>
                      <a:lnTo>
                        <a:pt x="33" y="178"/>
                      </a:lnTo>
                      <a:lnTo>
                        <a:pt x="29" y="181"/>
                      </a:lnTo>
                      <a:lnTo>
                        <a:pt x="29" y="173"/>
                      </a:lnTo>
                      <a:lnTo>
                        <a:pt x="29" y="164"/>
                      </a:lnTo>
                      <a:lnTo>
                        <a:pt x="31" y="153"/>
                      </a:lnTo>
                      <a:lnTo>
                        <a:pt x="21" y="145"/>
                      </a:lnTo>
                      <a:lnTo>
                        <a:pt x="12" y="136"/>
                      </a:lnTo>
                      <a:lnTo>
                        <a:pt x="10" y="128"/>
                      </a:lnTo>
                      <a:lnTo>
                        <a:pt x="0" y="123"/>
                      </a:lnTo>
                      <a:lnTo>
                        <a:pt x="2" y="109"/>
                      </a:lnTo>
                      <a:lnTo>
                        <a:pt x="10" y="100"/>
                      </a:lnTo>
                      <a:lnTo>
                        <a:pt x="16" y="86"/>
                      </a:lnTo>
                      <a:lnTo>
                        <a:pt x="21" y="72"/>
                      </a:lnTo>
                      <a:lnTo>
                        <a:pt x="23" y="58"/>
                      </a:lnTo>
                      <a:lnTo>
                        <a:pt x="21" y="45"/>
                      </a:lnTo>
                      <a:lnTo>
                        <a:pt x="25" y="39"/>
                      </a:lnTo>
                      <a:lnTo>
                        <a:pt x="29" y="33"/>
                      </a:lnTo>
                      <a:lnTo>
                        <a:pt x="23" y="22"/>
                      </a:lnTo>
                      <a:lnTo>
                        <a:pt x="41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2" name="Freeform 18"/>
                <p:cNvSpPr>
                  <a:spLocks/>
                </p:cNvSpPr>
                <p:nvPr/>
              </p:nvSpPr>
              <p:spPr bwMode="auto">
                <a:xfrm>
                  <a:off x="4549" y="2387"/>
                  <a:ext cx="182" cy="249"/>
                </a:xfrm>
                <a:custGeom>
                  <a:avLst/>
                  <a:gdLst>
                    <a:gd name="T0" fmla="*/ 0 w 182"/>
                    <a:gd name="T1" fmla="*/ 83 h 249"/>
                    <a:gd name="T2" fmla="*/ 37 w 182"/>
                    <a:gd name="T3" fmla="*/ 44 h 249"/>
                    <a:gd name="T4" fmla="*/ 56 w 182"/>
                    <a:gd name="T5" fmla="*/ 28 h 249"/>
                    <a:gd name="T6" fmla="*/ 66 w 182"/>
                    <a:gd name="T7" fmla="*/ 14 h 249"/>
                    <a:gd name="T8" fmla="*/ 95 w 182"/>
                    <a:gd name="T9" fmla="*/ 0 h 249"/>
                    <a:gd name="T10" fmla="*/ 111 w 182"/>
                    <a:gd name="T11" fmla="*/ 30 h 249"/>
                    <a:gd name="T12" fmla="*/ 127 w 182"/>
                    <a:gd name="T13" fmla="*/ 17 h 249"/>
                    <a:gd name="T14" fmla="*/ 132 w 182"/>
                    <a:gd name="T15" fmla="*/ 8 h 249"/>
                    <a:gd name="T16" fmla="*/ 146 w 182"/>
                    <a:gd name="T17" fmla="*/ 0 h 249"/>
                    <a:gd name="T18" fmla="*/ 154 w 182"/>
                    <a:gd name="T19" fmla="*/ 0 h 249"/>
                    <a:gd name="T20" fmla="*/ 156 w 182"/>
                    <a:gd name="T21" fmla="*/ 11 h 249"/>
                    <a:gd name="T22" fmla="*/ 156 w 182"/>
                    <a:gd name="T23" fmla="*/ 19 h 249"/>
                    <a:gd name="T24" fmla="*/ 148 w 182"/>
                    <a:gd name="T25" fmla="*/ 33 h 249"/>
                    <a:gd name="T26" fmla="*/ 148 w 182"/>
                    <a:gd name="T27" fmla="*/ 41 h 249"/>
                    <a:gd name="T28" fmla="*/ 169 w 182"/>
                    <a:gd name="T29" fmla="*/ 77 h 249"/>
                    <a:gd name="T30" fmla="*/ 173 w 182"/>
                    <a:gd name="T31" fmla="*/ 99 h 249"/>
                    <a:gd name="T32" fmla="*/ 179 w 182"/>
                    <a:gd name="T33" fmla="*/ 99 h 249"/>
                    <a:gd name="T34" fmla="*/ 181 w 182"/>
                    <a:gd name="T35" fmla="*/ 110 h 249"/>
                    <a:gd name="T36" fmla="*/ 173 w 182"/>
                    <a:gd name="T37" fmla="*/ 121 h 249"/>
                    <a:gd name="T38" fmla="*/ 167 w 182"/>
                    <a:gd name="T39" fmla="*/ 116 h 249"/>
                    <a:gd name="T40" fmla="*/ 154 w 182"/>
                    <a:gd name="T41" fmla="*/ 124 h 249"/>
                    <a:gd name="T42" fmla="*/ 156 w 182"/>
                    <a:gd name="T43" fmla="*/ 146 h 249"/>
                    <a:gd name="T44" fmla="*/ 140 w 182"/>
                    <a:gd name="T45" fmla="*/ 160 h 249"/>
                    <a:gd name="T46" fmla="*/ 140 w 182"/>
                    <a:gd name="T47" fmla="*/ 196 h 249"/>
                    <a:gd name="T48" fmla="*/ 140 w 182"/>
                    <a:gd name="T49" fmla="*/ 220 h 249"/>
                    <a:gd name="T50" fmla="*/ 132 w 182"/>
                    <a:gd name="T51" fmla="*/ 231 h 249"/>
                    <a:gd name="T52" fmla="*/ 127 w 182"/>
                    <a:gd name="T53" fmla="*/ 248 h 249"/>
                    <a:gd name="T54" fmla="*/ 119 w 182"/>
                    <a:gd name="T55" fmla="*/ 245 h 249"/>
                    <a:gd name="T56" fmla="*/ 107 w 182"/>
                    <a:gd name="T57" fmla="*/ 237 h 249"/>
                    <a:gd name="T58" fmla="*/ 97 w 182"/>
                    <a:gd name="T59" fmla="*/ 229 h 249"/>
                    <a:gd name="T60" fmla="*/ 90 w 182"/>
                    <a:gd name="T61" fmla="*/ 215 h 249"/>
                    <a:gd name="T62" fmla="*/ 62 w 182"/>
                    <a:gd name="T63" fmla="*/ 218 h 249"/>
                    <a:gd name="T64" fmla="*/ 39 w 182"/>
                    <a:gd name="T65" fmla="*/ 209 h 249"/>
                    <a:gd name="T66" fmla="*/ 23 w 182"/>
                    <a:gd name="T67" fmla="*/ 187 h 249"/>
                    <a:gd name="T68" fmla="*/ 14 w 182"/>
                    <a:gd name="T69" fmla="*/ 171 h 249"/>
                    <a:gd name="T70" fmla="*/ 6 w 182"/>
                    <a:gd name="T71" fmla="*/ 157 h 249"/>
                    <a:gd name="T72" fmla="*/ 6 w 182"/>
                    <a:gd name="T73" fmla="*/ 130 h 249"/>
                    <a:gd name="T74" fmla="*/ 0 w 182"/>
                    <a:gd name="T75" fmla="*/ 83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82" h="249">
                      <a:moveTo>
                        <a:pt x="0" y="83"/>
                      </a:moveTo>
                      <a:lnTo>
                        <a:pt x="37" y="44"/>
                      </a:lnTo>
                      <a:lnTo>
                        <a:pt x="56" y="28"/>
                      </a:lnTo>
                      <a:lnTo>
                        <a:pt x="66" y="14"/>
                      </a:lnTo>
                      <a:lnTo>
                        <a:pt x="95" y="0"/>
                      </a:lnTo>
                      <a:lnTo>
                        <a:pt x="111" y="30"/>
                      </a:lnTo>
                      <a:lnTo>
                        <a:pt x="127" y="17"/>
                      </a:lnTo>
                      <a:lnTo>
                        <a:pt x="132" y="8"/>
                      </a:lnTo>
                      <a:lnTo>
                        <a:pt x="146" y="0"/>
                      </a:lnTo>
                      <a:lnTo>
                        <a:pt x="154" y="0"/>
                      </a:lnTo>
                      <a:lnTo>
                        <a:pt x="156" y="11"/>
                      </a:lnTo>
                      <a:lnTo>
                        <a:pt x="156" y="19"/>
                      </a:lnTo>
                      <a:lnTo>
                        <a:pt x="148" y="33"/>
                      </a:lnTo>
                      <a:lnTo>
                        <a:pt x="148" y="41"/>
                      </a:lnTo>
                      <a:lnTo>
                        <a:pt x="169" y="77"/>
                      </a:lnTo>
                      <a:lnTo>
                        <a:pt x="173" y="99"/>
                      </a:lnTo>
                      <a:lnTo>
                        <a:pt x="179" y="99"/>
                      </a:lnTo>
                      <a:lnTo>
                        <a:pt x="181" y="110"/>
                      </a:lnTo>
                      <a:lnTo>
                        <a:pt x="173" y="121"/>
                      </a:lnTo>
                      <a:lnTo>
                        <a:pt x="167" y="116"/>
                      </a:lnTo>
                      <a:lnTo>
                        <a:pt x="154" y="124"/>
                      </a:lnTo>
                      <a:lnTo>
                        <a:pt x="156" y="146"/>
                      </a:lnTo>
                      <a:lnTo>
                        <a:pt x="140" y="160"/>
                      </a:lnTo>
                      <a:lnTo>
                        <a:pt x="140" y="196"/>
                      </a:lnTo>
                      <a:lnTo>
                        <a:pt x="140" y="220"/>
                      </a:lnTo>
                      <a:lnTo>
                        <a:pt x="132" y="231"/>
                      </a:lnTo>
                      <a:lnTo>
                        <a:pt x="127" y="248"/>
                      </a:lnTo>
                      <a:lnTo>
                        <a:pt x="119" y="245"/>
                      </a:lnTo>
                      <a:lnTo>
                        <a:pt x="107" y="237"/>
                      </a:lnTo>
                      <a:lnTo>
                        <a:pt x="97" y="229"/>
                      </a:lnTo>
                      <a:lnTo>
                        <a:pt x="90" y="215"/>
                      </a:lnTo>
                      <a:lnTo>
                        <a:pt x="62" y="218"/>
                      </a:lnTo>
                      <a:lnTo>
                        <a:pt x="39" y="209"/>
                      </a:lnTo>
                      <a:lnTo>
                        <a:pt x="23" y="187"/>
                      </a:lnTo>
                      <a:lnTo>
                        <a:pt x="14" y="171"/>
                      </a:lnTo>
                      <a:lnTo>
                        <a:pt x="6" y="157"/>
                      </a:lnTo>
                      <a:lnTo>
                        <a:pt x="6" y="130"/>
                      </a:lnTo>
                      <a:lnTo>
                        <a:pt x="0" y="83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3" name="Freeform 19"/>
                <p:cNvSpPr>
                  <a:spLocks/>
                </p:cNvSpPr>
                <p:nvPr/>
              </p:nvSpPr>
              <p:spPr bwMode="auto">
                <a:xfrm>
                  <a:off x="4934" y="2529"/>
                  <a:ext cx="348" cy="235"/>
                </a:xfrm>
                <a:custGeom>
                  <a:avLst/>
                  <a:gdLst>
                    <a:gd name="T0" fmla="*/ 31 w 348"/>
                    <a:gd name="T1" fmla="*/ 3 h 235"/>
                    <a:gd name="T2" fmla="*/ 68 w 348"/>
                    <a:gd name="T3" fmla="*/ 39 h 235"/>
                    <a:gd name="T4" fmla="*/ 74 w 348"/>
                    <a:gd name="T5" fmla="*/ 56 h 235"/>
                    <a:gd name="T6" fmla="*/ 96 w 348"/>
                    <a:gd name="T7" fmla="*/ 47 h 235"/>
                    <a:gd name="T8" fmla="*/ 107 w 348"/>
                    <a:gd name="T9" fmla="*/ 53 h 235"/>
                    <a:gd name="T10" fmla="*/ 121 w 348"/>
                    <a:gd name="T11" fmla="*/ 39 h 235"/>
                    <a:gd name="T12" fmla="*/ 140 w 348"/>
                    <a:gd name="T13" fmla="*/ 31 h 235"/>
                    <a:gd name="T14" fmla="*/ 185 w 348"/>
                    <a:gd name="T15" fmla="*/ 47 h 235"/>
                    <a:gd name="T16" fmla="*/ 212 w 348"/>
                    <a:gd name="T17" fmla="*/ 67 h 235"/>
                    <a:gd name="T18" fmla="*/ 234 w 348"/>
                    <a:gd name="T19" fmla="*/ 81 h 235"/>
                    <a:gd name="T20" fmla="*/ 271 w 348"/>
                    <a:gd name="T21" fmla="*/ 111 h 235"/>
                    <a:gd name="T22" fmla="*/ 275 w 348"/>
                    <a:gd name="T23" fmla="*/ 128 h 235"/>
                    <a:gd name="T24" fmla="*/ 292 w 348"/>
                    <a:gd name="T25" fmla="*/ 142 h 235"/>
                    <a:gd name="T26" fmla="*/ 306 w 348"/>
                    <a:gd name="T27" fmla="*/ 148 h 235"/>
                    <a:gd name="T28" fmla="*/ 322 w 348"/>
                    <a:gd name="T29" fmla="*/ 176 h 235"/>
                    <a:gd name="T30" fmla="*/ 333 w 348"/>
                    <a:gd name="T31" fmla="*/ 192 h 235"/>
                    <a:gd name="T32" fmla="*/ 335 w 348"/>
                    <a:gd name="T33" fmla="*/ 234 h 235"/>
                    <a:gd name="T34" fmla="*/ 320 w 348"/>
                    <a:gd name="T35" fmla="*/ 234 h 235"/>
                    <a:gd name="T36" fmla="*/ 310 w 348"/>
                    <a:gd name="T37" fmla="*/ 226 h 235"/>
                    <a:gd name="T38" fmla="*/ 275 w 348"/>
                    <a:gd name="T39" fmla="*/ 184 h 235"/>
                    <a:gd name="T40" fmla="*/ 240 w 348"/>
                    <a:gd name="T41" fmla="*/ 184 h 235"/>
                    <a:gd name="T42" fmla="*/ 228 w 348"/>
                    <a:gd name="T43" fmla="*/ 198 h 235"/>
                    <a:gd name="T44" fmla="*/ 218 w 348"/>
                    <a:gd name="T45" fmla="*/ 206 h 235"/>
                    <a:gd name="T46" fmla="*/ 197 w 348"/>
                    <a:gd name="T47" fmla="*/ 217 h 235"/>
                    <a:gd name="T48" fmla="*/ 177 w 348"/>
                    <a:gd name="T49" fmla="*/ 212 h 235"/>
                    <a:gd name="T50" fmla="*/ 160 w 348"/>
                    <a:gd name="T51" fmla="*/ 212 h 235"/>
                    <a:gd name="T52" fmla="*/ 138 w 348"/>
                    <a:gd name="T53" fmla="*/ 159 h 235"/>
                    <a:gd name="T54" fmla="*/ 113 w 348"/>
                    <a:gd name="T55" fmla="*/ 111 h 235"/>
                    <a:gd name="T56" fmla="*/ 82 w 348"/>
                    <a:gd name="T57" fmla="*/ 95 h 235"/>
                    <a:gd name="T58" fmla="*/ 53 w 348"/>
                    <a:gd name="T59" fmla="*/ 92 h 235"/>
                    <a:gd name="T60" fmla="*/ 23 w 348"/>
                    <a:gd name="T61" fmla="*/ 75 h 235"/>
                    <a:gd name="T62" fmla="*/ 25 w 348"/>
                    <a:gd name="T63" fmla="*/ 25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348" h="235">
                      <a:moveTo>
                        <a:pt x="0" y="0"/>
                      </a:moveTo>
                      <a:lnTo>
                        <a:pt x="31" y="3"/>
                      </a:lnTo>
                      <a:lnTo>
                        <a:pt x="57" y="6"/>
                      </a:lnTo>
                      <a:lnTo>
                        <a:pt x="68" y="39"/>
                      </a:lnTo>
                      <a:lnTo>
                        <a:pt x="70" y="50"/>
                      </a:lnTo>
                      <a:lnTo>
                        <a:pt x="74" y="56"/>
                      </a:lnTo>
                      <a:lnTo>
                        <a:pt x="82" y="47"/>
                      </a:lnTo>
                      <a:lnTo>
                        <a:pt x="96" y="47"/>
                      </a:lnTo>
                      <a:lnTo>
                        <a:pt x="103" y="56"/>
                      </a:lnTo>
                      <a:lnTo>
                        <a:pt x="107" y="53"/>
                      </a:lnTo>
                      <a:lnTo>
                        <a:pt x="119" y="39"/>
                      </a:lnTo>
                      <a:lnTo>
                        <a:pt x="121" y="39"/>
                      </a:lnTo>
                      <a:lnTo>
                        <a:pt x="131" y="31"/>
                      </a:lnTo>
                      <a:lnTo>
                        <a:pt x="140" y="31"/>
                      </a:lnTo>
                      <a:lnTo>
                        <a:pt x="172" y="47"/>
                      </a:lnTo>
                      <a:lnTo>
                        <a:pt x="185" y="47"/>
                      </a:lnTo>
                      <a:lnTo>
                        <a:pt x="199" y="61"/>
                      </a:lnTo>
                      <a:lnTo>
                        <a:pt x="212" y="67"/>
                      </a:lnTo>
                      <a:lnTo>
                        <a:pt x="224" y="78"/>
                      </a:lnTo>
                      <a:lnTo>
                        <a:pt x="234" y="81"/>
                      </a:lnTo>
                      <a:lnTo>
                        <a:pt x="259" y="92"/>
                      </a:lnTo>
                      <a:lnTo>
                        <a:pt x="271" y="111"/>
                      </a:lnTo>
                      <a:lnTo>
                        <a:pt x="277" y="123"/>
                      </a:lnTo>
                      <a:lnTo>
                        <a:pt x="275" y="128"/>
                      </a:lnTo>
                      <a:lnTo>
                        <a:pt x="285" y="139"/>
                      </a:lnTo>
                      <a:lnTo>
                        <a:pt x="292" y="142"/>
                      </a:lnTo>
                      <a:lnTo>
                        <a:pt x="296" y="145"/>
                      </a:lnTo>
                      <a:lnTo>
                        <a:pt x="306" y="148"/>
                      </a:lnTo>
                      <a:lnTo>
                        <a:pt x="322" y="164"/>
                      </a:lnTo>
                      <a:lnTo>
                        <a:pt x="322" y="176"/>
                      </a:lnTo>
                      <a:lnTo>
                        <a:pt x="331" y="187"/>
                      </a:lnTo>
                      <a:lnTo>
                        <a:pt x="333" y="192"/>
                      </a:lnTo>
                      <a:lnTo>
                        <a:pt x="347" y="215"/>
                      </a:lnTo>
                      <a:lnTo>
                        <a:pt x="335" y="234"/>
                      </a:lnTo>
                      <a:lnTo>
                        <a:pt x="331" y="234"/>
                      </a:lnTo>
                      <a:lnTo>
                        <a:pt x="320" y="234"/>
                      </a:lnTo>
                      <a:lnTo>
                        <a:pt x="316" y="226"/>
                      </a:lnTo>
                      <a:lnTo>
                        <a:pt x="310" y="226"/>
                      </a:lnTo>
                      <a:lnTo>
                        <a:pt x="304" y="228"/>
                      </a:lnTo>
                      <a:lnTo>
                        <a:pt x="275" y="184"/>
                      </a:lnTo>
                      <a:lnTo>
                        <a:pt x="257" y="187"/>
                      </a:lnTo>
                      <a:lnTo>
                        <a:pt x="240" y="184"/>
                      </a:lnTo>
                      <a:lnTo>
                        <a:pt x="234" y="189"/>
                      </a:lnTo>
                      <a:lnTo>
                        <a:pt x="228" y="198"/>
                      </a:lnTo>
                      <a:lnTo>
                        <a:pt x="226" y="192"/>
                      </a:lnTo>
                      <a:lnTo>
                        <a:pt x="218" y="206"/>
                      </a:lnTo>
                      <a:lnTo>
                        <a:pt x="207" y="226"/>
                      </a:lnTo>
                      <a:lnTo>
                        <a:pt x="197" y="217"/>
                      </a:lnTo>
                      <a:lnTo>
                        <a:pt x="185" y="212"/>
                      </a:lnTo>
                      <a:lnTo>
                        <a:pt x="177" y="212"/>
                      </a:lnTo>
                      <a:lnTo>
                        <a:pt x="166" y="206"/>
                      </a:lnTo>
                      <a:lnTo>
                        <a:pt x="160" y="212"/>
                      </a:lnTo>
                      <a:lnTo>
                        <a:pt x="152" y="184"/>
                      </a:lnTo>
                      <a:lnTo>
                        <a:pt x="138" y="159"/>
                      </a:lnTo>
                      <a:lnTo>
                        <a:pt x="125" y="128"/>
                      </a:lnTo>
                      <a:lnTo>
                        <a:pt x="113" y="111"/>
                      </a:lnTo>
                      <a:lnTo>
                        <a:pt x="103" y="95"/>
                      </a:lnTo>
                      <a:lnTo>
                        <a:pt x="82" y="95"/>
                      </a:lnTo>
                      <a:lnTo>
                        <a:pt x="62" y="103"/>
                      </a:lnTo>
                      <a:lnTo>
                        <a:pt x="53" y="92"/>
                      </a:lnTo>
                      <a:lnTo>
                        <a:pt x="33" y="84"/>
                      </a:lnTo>
                      <a:lnTo>
                        <a:pt x="23" y="75"/>
                      </a:lnTo>
                      <a:lnTo>
                        <a:pt x="23" y="42"/>
                      </a:lnTo>
                      <a:lnTo>
                        <a:pt x="25" y="2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4" name="Freeform 20"/>
                <p:cNvSpPr>
                  <a:spLocks/>
                </p:cNvSpPr>
                <p:nvPr/>
              </p:nvSpPr>
              <p:spPr bwMode="auto">
                <a:xfrm>
                  <a:off x="4293" y="2362"/>
                  <a:ext cx="209" cy="310"/>
                </a:xfrm>
                <a:custGeom>
                  <a:avLst/>
                  <a:gdLst>
                    <a:gd name="T0" fmla="*/ 0 w 209"/>
                    <a:gd name="T1" fmla="*/ 8 h 310"/>
                    <a:gd name="T2" fmla="*/ 21 w 209"/>
                    <a:gd name="T3" fmla="*/ 0 h 310"/>
                    <a:gd name="T4" fmla="*/ 46 w 209"/>
                    <a:gd name="T5" fmla="*/ 14 h 310"/>
                    <a:gd name="T6" fmla="*/ 50 w 209"/>
                    <a:gd name="T7" fmla="*/ 28 h 310"/>
                    <a:gd name="T8" fmla="*/ 50 w 209"/>
                    <a:gd name="T9" fmla="*/ 33 h 310"/>
                    <a:gd name="T10" fmla="*/ 56 w 209"/>
                    <a:gd name="T11" fmla="*/ 36 h 310"/>
                    <a:gd name="T12" fmla="*/ 56 w 209"/>
                    <a:gd name="T13" fmla="*/ 42 h 310"/>
                    <a:gd name="T14" fmla="*/ 64 w 209"/>
                    <a:gd name="T15" fmla="*/ 45 h 310"/>
                    <a:gd name="T16" fmla="*/ 64 w 209"/>
                    <a:gd name="T17" fmla="*/ 56 h 310"/>
                    <a:gd name="T18" fmla="*/ 89 w 209"/>
                    <a:gd name="T19" fmla="*/ 89 h 310"/>
                    <a:gd name="T20" fmla="*/ 92 w 209"/>
                    <a:gd name="T21" fmla="*/ 89 h 310"/>
                    <a:gd name="T22" fmla="*/ 96 w 209"/>
                    <a:gd name="T23" fmla="*/ 97 h 310"/>
                    <a:gd name="T24" fmla="*/ 100 w 209"/>
                    <a:gd name="T25" fmla="*/ 106 h 310"/>
                    <a:gd name="T26" fmla="*/ 104 w 209"/>
                    <a:gd name="T27" fmla="*/ 106 h 310"/>
                    <a:gd name="T28" fmla="*/ 121 w 209"/>
                    <a:gd name="T29" fmla="*/ 117 h 310"/>
                    <a:gd name="T30" fmla="*/ 154 w 209"/>
                    <a:gd name="T31" fmla="*/ 122 h 310"/>
                    <a:gd name="T32" fmla="*/ 156 w 209"/>
                    <a:gd name="T33" fmla="*/ 161 h 310"/>
                    <a:gd name="T34" fmla="*/ 164 w 209"/>
                    <a:gd name="T35" fmla="*/ 167 h 310"/>
                    <a:gd name="T36" fmla="*/ 162 w 209"/>
                    <a:gd name="T37" fmla="*/ 181 h 310"/>
                    <a:gd name="T38" fmla="*/ 181 w 209"/>
                    <a:gd name="T39" fmla="*/ 200 h 310"/>
                    <a:gd name="T40" fmla="*/ 198 w 209"/>
                    <a:gd name="T41" fmla="*/ 209 h 310"/>
                    <a:gd name="T42" fmla="*/ 198 w 209"/>
                    <a:gd name="T43" fmla="*/ 273 h 310"/>
                    <a:gd name="T44" fmla="*/ 208 w 209"/>
                    <a:gd name="T45" fmla="*/ 298 h 310"/>
                    <a:gd name="T46" fmla="*/ 202 w 209"/>
                    <a:gd name="T47" fmla="*/ 306 h 310"/>
                    <a:gd name="T48" fmla="*/ 191 w 209"/>
                    <a:gd name="T49" fmla="*/ 309 h 310"/>
                    <a:gd name="T50" fmla="*/ 189 w 209"/>
                    <a:gd name="T51" fmla="*/ 287 h 310"/>
                    <a:gd name="T52" fmla="*/ 169 w 209"/>
                    <a:gd name="T53" fmla="*/ 309 h 310"/>
                    <a:gd name="T54" fmla="*/ 156 w 209"/>
                    <a:gd name="T55" fmla="*/ 276 h 310"/>
                    <a:gd name="T56" fmla="*/ 148 w 209"/>
                    <a:gd name="T57" fmla="*/ 253 h 310"/>
                    <a:gd name="T58" fmla="*/ 125 w 209"/>
                    <a:gd name="T59" fmla="*/ 223 h 310"/>
                    <a:gd name="T60" fmla="*/ 119 w 209"/>
                    <a:gd name="T61" fmla="*/ 223 h 310"/>
                    <a:gd name="T62" fmla="*/ 98 w 209"/>
                    <a:gd name="T63" fmla="*/ 206 h 310"/>
                    <a:gd name="T64" fmla="*/ 94 w 209"/>
                    <a:gd name="T65" fmla="*/ 189 h 310"/>
                    <a:gd name="T66" fmla="*/ 94 w 209"/>
                    <a:gd name="T67" fmla="*/ 178 h 310"/>
                    <a:gd name="T68" fmla="*/ 77 w 209"/>
                    <a:gd name="T69" fmla="*/ 134 h 310"/>
                    <a:gd name="T70" fmla="*/ 69 w 209"/>
                    <a:gd name="T71" fmla="*/ 106 h 310"/>
                    <a:gd name="T72" fmla="*/ 48 w 209"/>
                    <a:gd name="T73" fmla="*/ 81 h 310"/>
                    <a:gd name="T74" fmla="*/ 19 w 209"/>
                    <a:gd name="T75" fmla="*/ 42 h 310"/>
                    <a:gd name="T76" fmla="*/ 0 w 209"/>
                    <a:gd name="T77" fmla="*/ 8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209" h="310">
                      <a:moveTo>
                        <a:pt x="0" y="8"/>
                      </a:moveTo>
                      <a:lnTo>
                        <a:pt x="21" y="0"/>
                      </a:lnTo>
                      <a:lnTo>
                        <a:pt x="46" y="14"/>
                      </a:lnTo>
                      <a:lnTo>
                        <a:pt x="50" y="28"/>
                      </a:lnTo>
                      <a:lnTo>
                        <a:pt x="50" y="33"/>
                      </a:lnTo>
                      <a:lnTo>
                        <a:pt x="56" y="36"/>
                      </a:lnTo>
                      <a:lnTo>
                        <a:pt x="56" y="42"/>
                      </a:lnTo>
                      <a:lnTo>
                        <a:pt x="64" y="45"/>
                      </a:lnTo>
                      <a:lnTo>
                        <a:pt x="64" y="56"/>
                      </a:lnTo>
                      <a:lnTo>
                        <a:pt x="89" y="89"/>
                      </a:lnTo>
                      <a:lnTo>
                        <a:pt x="92" y="89"/>
                      </a:lnTo>
                      <a:lnTo>
                        <a:pt x="96" y="97"/>
                      </a:lnTo>
                      <a:lnTo>
                        <a:pt x="100" y="106"/>
                      </a:lnTo>
                      <a:lnTo>
                        <a:pt x="104" y="106"/>
                      </a:lnTo>
                      <a:lnTo>
                        <a:pt x="121" y="117"/>
                      </a:lnTo>
                      <a:lnTo>
                        <a:pt x="154" y="122"/>
                      </a:lnTo>
                      <a:lnTo>
                        <a:pt x="156" y="161"/>
                      </a:lnTo>
                      <a:lnTo>
                        <a:pt x="164" y="167"/>
                      </a:lnTo>
                      <a:lnTo>
                        <a:pt x="162" y="181"/>
                      </a:lnTo>
                      <a:lnTo>
                        <a:pt x="181" y="200"/>
                      </a:lnTo>
                      <a:lnTo>
                        <a:pt x="198" y="209"/>
                      </a:lnTo>
                      <a:lnTo>
                        <a:pt x="198" y="273"/>
                      </a:lnTo>
                      <a:lnTo>
                        <a:pt x="208" y="298"/>
                      </a:lnTo>
                      <a:lnTo>
                        <a:pt x="202" y="306"/>
                      </a:lnTo>
                      <a:lnTo>
                        <a:pt x="191" y="309"/>
                      </a:lnTo>
                      <a:lnTo>
                        <a:pt x="189" y="287"/>
                      </a:lnTo>
                      <a:lnTo>
                        <a:pt x="169" y="309"/>
                      </a:lnTo>
                      <a:lnTo>
                        <a:pt x="156" y="276"/>
                      </a:lnTo>
                      <a:lnTo>
                        <a:pt x="148" y="253"/>
                      </a:lnTo>
                      <a:lnTo>
                        <a:pt x="125" y="223"/>
                      </a:lnTo>
                      <a:lnTo>
                        <a:pt x="119" y="223"/>
                      </a:lnTo>
                      <a:lnTo>
                        <a:pt x="98" y="206"/>
                      </a:lnTo>
                      <a:lnTo>
                        <a:pt x="94" y="189"/>
                      </a:lnTo>
                      <a:lnTo>
                        <a:pt x="94" y="178"/>
                      </a:lnTo>
                      <a:lnTo>
                        <a:pt x="77" y="134"/>
                      </a:lnTo>
                      <a:lnTo>
                        <a:pt x="69" y="106"/>
                      </a:lnTo>
                      <a:lnTo>
                        <a:pt x="48" y="81"/>
                      </a:lnTo>
                      <a:lnTo>
                        <a:pt x="19" y="42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5" name="Freeform 21"/>
                <p:cNvSpPr>
                  <a:spLocks/>
                </p:cNvSpPr>
                <p:nvPr/>
              </p:nvSpPr>
              <p:spPr bwMode="auto">
                <a:xfrm>
                  <a:off x="4664" y="2029"/>
                  <a:ext cx="205" cy="341"/>
                </a:xfrm>
                <a:custGeom>
                  <a:avLst/>
                  <a:gdLst>
                    <a:gd name="T0" fmla="*/ 14 w 205"/>
                    <a:gd name="T1" fmla="*/ 0 h 341"/>
                    <a:gd name="T2" fmla="*/ 31 w 205"/>
                    <a:gd name="T3" fmla="*/ 0 h 341"/>
                    <a:gd name="T4" fmla="*/ 51 w 205"/>
                    <a:gd name="T5" fmla="*/ 36 h 341"/>
                    <a:gd name="T6" fmla="*/ 47 w 205"/>
                    <a:gd name="T7" fmla="*/ 70 h 341"/>
                    <a:gd name="T8" fmla="*/ 59 w 205"/>
                    <a:gd name="T9" fmla="*/ 81 h 341"/>
                    <a:gd name="T10" fmla="*/ 65 w 205"/>
                    <a:gd name="T11" fmla="*/ 103 h 341"/>
                    <a:gd name="T12" fmla="*/ 78 w 205"/>
                    <a:gd name="T13" fmla="*/ 114 h 341"/>
                    <a:gd name="T14" fmla="*/ 94 w 205"/>
                    <a:gd name="T15" fmla="*/ 117 h 341"/>
                    <a:gd name="T16" fmla="*/ 118 w 205"/>
                    <a:gd name="T17" fmla="*/ 134 h 341"/>
                    <a:gd name="T18" fmla="*/ 133 w 205"/>
                    <a:gd name="T19" fmla="*/ 153 h 341"/>
                    <a:gd name="T20" fmla="*/ 137 w 205"/>
                    <a:gd name="T21" fmla="*/ 153 h 341"/>
                    <a:gd name="T22" fmla="*/ 157 w 205"/>
                    <a:gd name="T23" fmla="*/ 170 h 341"/>
                    <a:gd name="T24" fmla="*/ 157 w 205"/>
                    <a:gd name="T25" fmla="*/ 212 h 341"/>
                    <a:gd name="T26" fmla="*/ 163 w 205"/>
                    <a:gd name="T27" fmla="*/ 231 h 341"/>
                    <a:gd name="T28" fmla="*/ 169 w 205"/>
                    <a:gd name="T29" fmla="*/ 242 h 341"/>
                    <a:gd name="T30" fmla="*/ 177 w 205"/>
                    <a:gd name="T31" fmla="*/ 254 h 341"/>
                    <a:gd name="T32" fmla="*/ 184 w 205"/>
                    <a:gd name="T33" fmla="*/ 268 h 341"/>
                    <a:gd name="T34" fmla="*/ 188 w 205"/>
                    <a:gd name="T35" fmla="*/ 284 h 341"/>
                    <a:gd name="T36" fmla="*/ 204 w 205"/>
                    <a:gd name="T37" fmla="*/ 298 h 341"/>
                    <a:gd name="T38" fmla="*/ 202 w 205"/>
                    <a:gd name="T39" fmla="*/ 315 h 341"/>
                    <a:gd name="T40" fmla="*/ 186 w 205"/>
                    <a:gd name="T41" fmla="*/ 318 h 341"/>
                    <a:gd name="T42" fmla="*/ 180 w 205"/>
                    <a:gd name="T43" fmla="*/ 304 h 341"/>
                    <a:gd name="T44" fmla="*/ 169 w 205"/>
                    <a:gd name="T45" fmla="*/ 304 h 341"/>
                    <a:gd name="T46" fmla="*/ 169 w 205"/>
                    <a:gd name="T47" fmla="*/ 340 h 341"/>
                    <a:gd name="T48" fmla="*/ 159 w 205"/>
                    <a:gd name="T49" fmla="*/ 340 h 341"/>
                    <a:gd name="T50" fmla="*/ 147 w 205"/>
                    <a:gd name="T51" fmla="*/ 323 h 341"/>
                    <a:gd name="T52" fmla="*/ 139 w 205"/>
                    <a:gd name="T53" fmla="*/ 315 h 341"/>
                    <a:gd name="T54" fmla="*/ 139 w 205"/>
                    <a:gd name="T55" fmla="*/ 295 h 341"/>
                    <a:gd name="T56" fmla="*/ 122 w 205"/>
                    <a:gd name="T57" fmla="*/ 295 h 341"/>
                    <a:gd name="T58" fmla="*/ 116 w 205"/>
                    <a:gd name="T59" fmla="*/ 315 h 341"/>
                    <a:gd name="T60" fmla="*/ 110 w 205"/>
                    <a:gd name="T61" fmla="*/ 295 h 341"/>
                    <a:gd name="T62" fmla="*/ 108 w 205"/>
                    <a:gd name="T63" fmla="*/ 276 h 341"/>
                    <a:gd name="T64" fmla="*/ 129 w 205"/>
                    <a:gd name="T65" fmla="*/ 268 h 341"/>
                    <a:gd name="T66" fmla="*/ 141 w 205"/>
                    <a:gd name="T67" fmla="*/ 273 h 341"/>
                    <a:gd name="T68" fmla="*/ 143 w 205"/>
                    <a:gd name="T69" fmla="*/ 240 h 341"/>
                    <a:gd name="T70" fmla="*/ 131 w 205"/>
                    <a:gd name="T71" fmla="*/ 229 h 341"/>
                    <a:gd name="T72" fmla="*/ 124 w 205"/>
                    <a:gd name="T73" fmla="*/ 201 h 341"/>
                    <a:gd name="T74" fmla="*/ 118 w 205"/>
                    <a:gd name="T75" fmla="*/ 167 h 341"/>
                    <a:gd name="T76" fmla="*/ 96 w 205"/>
                    <a:gd name="T77" fmla="*/ 156 h 341"/>
                    <a:gd name="T78" fmla="*/ 86 w 205"/>
                    <a:gd name="T79" fmla="*/ 142 h 341"/>
                    <a:gd name="T80" fmla="*/ 69 w 205"/>
                    <a:gd name="T81" fmla="*/ 134 h 341"/>
                    <a:gd name="T82" fmla="*/ 78 w 205"/>
                    <a:gd name="T83" fmla="*/ 164 h 341"/>
                    <a:gd name="T84" fmla="*/ 59 w 205"/>
                    <a:gd name="T85" fmla="*/ 178 h 341"/>
                    <a:gd name="T86" fmla="*/ 47 w 205"/>
                    <a:gd name="T87" fmla="*/ 145 h 341"/>
                    <a:gd name="T88" fmla="*/ 37 w 205"/>
                    <a:gd name="T89" fmla="*/ 137 h 341"/>
                    <a:gd name="T90" fmla="*/ 37 w 205"/>
                    <a:gd name="T91" fmla="*/ 117 h 341"/>
                    <a:gd name="T92" fmla="*/ 24 w 205"/>
                    <a:gd name="T93" fmla="*/ 95 h 341"/>
                    <a:gd name="T94" fmla="*/ 8 w 205"/>
                    <a:gd name="T95" fmla="*/ 81 h 341"/>
                    <a:gd name="T96" fmla="*/ 0 w 205"/>
                    <a:gd name="T97" fmla="*/ 67 h 341"/>
                    <a:gd name="T98" fmla="*/ 4 w 205"/>
                    <a:gd name="T99" fmla="*/ 56 h 341"/>
                    <a:gd name="T100" fmla="*/ 16 w 205"/>
                    <a:gd name="T101" fmla="*/ 61 h 341"/>
                    <a:gd name="T102" fmla="*/ 20 w 205"/>
                    <a:gd name="T103" fmla="*/ 47 h 341"/>
                    <a:gd name="T104" fmla="*/ 16 w 205"/>
                    <a:gd name="T105" fmla="*/ 28 h 341"/>
                    <a:gd name="T106" fmla="*/ 14 w 205"/>
                    <a:gd name="T107" fmla="*/ 0 h 3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205" h="341">
                      <a:moveTo>
                        <a:pt x="14" y="0"/>
                      </a:moveTo>
                      <a:lnTo>
                        <a:pt x="31" y="0"/>
                      </a:lnTo>
                      <a:lnTo>
                        <a:pt x="51" y="36"/>
                      </a:lnTo>
                      <a:lnTo>
                        <a:pt x="47" y="70"/>
                      </a:lnTo>
                      <a:lnTo>
                        <a:pt x="59" y="81"/>
                      </a:lnTo>
                      <a:lnTo>
                        <a:pt x="65" y="103"/>
                      </a:lnTo>
                      <a:lnTo>
                        <a:pt x="78" y="114"/>
                      </a:lnTo>
                      <a:lnTo>
                        <a:pt x="94" y="117"/>
                      </a:lnTo>
                      <a:lnTo>
                        <a:pt x="118" y="134"/>
                      </a:lnTo>
                      <a:lnTo>
                        <a:pt x="133" y="153"/>
                      </a:lnTo>
                      <a:lnTo>
                        <a:pt x="137" y="153"/>
                      </a:lnTo>
                      <a:lnTo>
                        <a:pt x="157" y="170"/>
                      </a:lnTo>
                      <a:lnTo>
                        <a:pt x="157" y="212"/>
                      </a:lnTo>
                      <a:lnTo>
                        <a:pt x="163" y="231"/>
                      </a:lnTo>
                      <a:lnTo>
                        <a:pt x="169" y="242"/>
                      </a:lnTo>
                      <a:lnTo>
                        <a:pt x="177" y="254"/>
                      </a:lnTo>
                      <a:lnTo>
                        <a:pt x="184" y="268"/>
                      </a:lnTo>
                      <a:lnTo>
                        <a:pt x="188" y="284"/>
                      </a:lnTo>
                      <a:lnTo>
                        <a:pt x="204" y="298"/>
                      </a:lnTo>
                      <a:lnTo>
                        <a:pt x="202" y="315"/>
                      </a:lnTo>
                      <a:lnTo>
                        <a:pt x="186" y="318"/>
                      </a:lnTo>
                      <a:lnTo>
                        <a:pt x="180" y="304"/>
                      </a:lnTo>
                      <a:lnTo>
                        <a:pt x="169" y="304"/>
                      </a:lnTo>
                      <a:lnTo>
                        <a:pt x="169" y="340"/>
                      </a:lnTo>
                      <a:lnTo>
                        <a:pt x="159" y="340"/>
                      </a:lnTo>
                      <a:lnTo>
                        <a:pt x="147" y="323"/>
                      </a:lnTo>
                      <a:lnTo>
                        <a:pt x="139" y="315"/>
                      </a:lnTo>
                      <a:lnTo>
                        <a:pt x="139" y="295"/>
                      </a:lnTo>
                      <a:lnTo>
                        <a:pt x="122" y="295"/>
                      </a:lnTo>
                      <a:lnTo>
                        <a:pt x="116" y="315"/>
                      </a:lnTo>
                      <a:lnTo>
                        <a:pt x="110" y="295"/>
                      </a:lnTo>
                      <a:lnTo>
                        <a:pt x="108" y="276"/>
                      </a:lnTo>
                      <a:lnTo>
                        <a:pt x="129" y="268"/>
                      </a:lnTo>
                      <a:lnTo>
                        <a:pt x="141" y="273"/>
                      </a:lnTo>
                      <a:lnTo>
                        <a:pt x="143" y="240"/>
                      </a:lnTo>
                      <a:lnTo>
                        <a:pt x="131" y="229"/>
                      </a:lnTo>
                      <a:lnTo>
                        <a:pt x="124" y="201"/>
                      </a:lnTo>
                      <a:lnTo>
                        <a:pt x="118" y="167"/>
                      </a:lnTo>
                      <a:lnTo>
                        <a:pt x="96" y="156"/>
                      </a:lnTo>
                      <a:lnTo>
                        <a:pt x="86" y="142"/>
                      </a:lnTo>
                      <a:lnTo>
                        <a:pt x="69" y="134"/>
                      </a:lnTo>
                      <a:lnTo>
                        <a:pt x="78" y="164"/>
                      </a:lnTo>
                      <a:lnTo>
                        <a:pt x="59" y="178"/>
                      </a:lnTo>
                      <a:lnTo>
                        <a:pt x="47" y="145"/>
                      </a:lnTo>
                      <a:lnTo>
                        <a:pt x="37" y="137"/>
                      </a:lnTo>
                      <a:lnTo>
                        <a:pt x="37" y="117"/>
                      </a:lnTo>
                      <a:lnTo>
                        <a:pt x="24" y="95"/>
                      </a:lnTo>
                      <a:lnTo>
                        <a:pt x="8" y="81"/>
                      </a:lnTo>
                      <a:lnTo>
                        <a:pt x="0" y="67"/>
                      </a:lnTo>
                      <a:lnTo>
                        <a:pt x="4" y="56"/>
                      </a:lnTo>
                      <a:lnTo>
                        <a:pt x="16" y="61"/>
                      </a:lnTo>
                      <a:lnTo>
                        <a:pt x="20" y="47"/>
                      </a:lnTo>
                      <a:lnTo>
                        <a:pt x="16" y="28"/>
                      </a:lnTo>
                      <a:lnTo>
                        <a:pt x="14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6" name="Freeform 22"/>
                <p:cNvSpPr>
                  <a:spLocks/>
                </p:cNvSpPr>
                <p:nvPr/>
              </p:nvSpPr>
              <p:spPr bwMode="auto">
                <a:xfrm>
                  <a:off x="4619" y="1452"/>
                  <a:ext cx="150" cy="289"/>
                </a:xfrm>
                <a:custGeom>
                  <a:avLst/>
                  <a:gdLst>
                    <a:gd name="T0" fmla="*/ 31 w 150"/>
                    <a:gd name="T1" fmla="*/ 0 h 289"/>
                    <a:gd name="T2" fmla="*/ 60 w 150"/>
                    <a:gd name="T3" fmla="*/ 20 h 289"/>
                    <a:gd name="T4" fmla="*/ 77 w 150"/>
                    <a:gd name="T5" fmla="*/ 36 h 289"/>
                    <a:gd name="T6" fmla="*/ 89 w 150"/>
                    <a:gd name="T7" fmla="*/ 62 h 289"/>
                    <a:gd name="T8" fmla="*/ 99 w 150"/>
                    <a:gd name="T9" fmla="*/ 62 h 289"/>
                    <a:gd name="T10" fmla="*/ 97 w 150"/>
                    <a:gd name="T11" fmla="*/ 78 h 289"/>
                    <a:gd name="T12" fmla="*/ 108 w 150"/>
                    <a:gd name="T13" fmla="*/ 89 h 289"/>
                    <a:gd name="T14" fmla="*/ 116 w 150"/>
                    <a:gd name="T15" fmla="*/ 106 h 289"/>
                    <a:gd name="T16" fmla="*/ 135 w 150"/>
                    <a:gd name="T17" fmla="*/ 140 h 289"/>
                    <a:gd name="T18" fmla="*/ 149 w 150"/>
                    <a:gd name="T19" fmla="*/ 179 h 289"/>
                    <a:gd name="T20" fmla="*/ 124 w 150"/>
                    <a:gd name="T21" fmla="*/ 176 h 289"/>
                    <a:gd name="T22" fmla="*/ 104 w 150"/>
                    <a:gd name="T23" fmla="*/ 171 h 289"/>
                    <a:gd name="T24" fmla="*/ 118 w 150"/>
                    <a:gd name="T25" fmla="*/ 199 h 289"/>
                    <a:gd name="T26" fmla="*/ 118 w 150"/>
                    <a:gd name="T27" fmla="*/ 215 h 289"/>
                    <a:gd name="T28" fmla="*/ 118 w 150"/>
                    <a:gd name="T29" fmla="*/ 232 h 289"/>
                    <a:gd name="T30" fmla="*/ 110 w 150"/>
                    <a:gd name="T31" fmla="*/ 224 h 289"/>
                    <a:gd name="T32" fmla="*/ 101 w 150"/>
                    <a:gd name="T33" fmla="*/ 210 h 289"/>
                    <a:gd name="T34" fmla="*/ 83 w 150"/>
                    <a:gd name="T35" fmla="*/ 193 h 289"/>
                    <a:gd name="T36" fmla="*/ 74 w 150"/>
                    <a:gd name="T37" fmla="*/ 185 h 289"/>
                    <a:gd name="T38" fmla="*/ 58 w 150"/>
                    <a:gd name="T39" fmla="*/ 193 h 289"/>
                    <a:gd name="T40" fmla="*/ 48 w 150"/>
                    <a:gd name="T41" fmla="*/ 199 h 289"/>
                    <a:gd name="T42" fmla="*/ 54 w 150"/>
                    <a:gd name="T43" fmla="*/ 213 h 289"/>
                    <a:gd name="T44" fmla="*/ 70 w 150"/>
                    <a:gd name="T45" fmla="*/ 224 h 289"/>
                    <a:gd name="T46" fmla="*/ 85 w 150"/>
                    <a:gd name="T47" fmla="*/ 235 h 289"/>
                    <a:gd name="T48" fmla="*/ 91 w 150"/>
                    <a:gd name="T49" fmla="*/ 254 h 289"/>
                    <a:gd name="T50" fmla="*/ 89 w 150"/>
                    <a:gd name="T51" fmla="*/ 280 h 289"/>
                    <a:gd name="T52" fmla="*/ 89 w 150"/>
                    <a:gd name="T53" fmla="*/ 288 h 289"/>
                    <a:gd name="T54" fmla="*/ 83 w 150"/>
                    <a:gd name="T55" fmla="*/ 288 h 289"/>
                    <a:gd name="T56" fmla="*/ 74 w 150"/>
                    <a:gd name="T57" fmla="*/ 280 h 289"/>
                    <a:gd name="T58" fmla="*/ 70 w 150"/>
                    <a:gd name="T59" fmla="*/ 277 h 289"/>
                    <a:gd name="T60" fmla="*/ 64 w 150"/>
                    <a:gd name="T61" fmla="*/ 271 h 289"/>
                    <a:gd name="T62" fmla="*/ 58 w 150"/>
                    <a:gd name="T63" fmla="*/ 285 h 289"/>
                    <a:gd name="T64" fmla="*/ 48 w 150"/>
                    <a:gd name="T65" fmla="*/ 288 h 289"/>
                    <a:gd name="T66" fmla="*/ 41 w 150"/>
                    <a:gd name="T67" fmla="*/ 277 h 289"/>
                    <a:gd name="T68" fmla="*/ 41 w 150"/>
                    <a:gd name="T69" fmla="*/ 252 h 289"/>
                    <a:gd name="T70" fmla="*/ 39 w 150"/>
                    <a:gd name="T71" fmla="*/ 238 h 289"/>
                    <a:gd name="T72" fmla="*/ 29 w 150"/>
                    <a:gd name="T73" fmla="*/ 229 h 289"/>
                    <a:gd name="T74" fmla="*/ 19 w 150"/>
                    <a:gd name="T75" fmla="*/ 243 h 289"/>
                    <a:gd name="T76" fmla="*/ 4 w 150"/>
                    <a:gd name="T77" fmla="*/ 243 h 289"/>
                    <a:gd name="T78" fmla="*/ 0 w 150"/>
                    <a:gd name="T79" fmla="*/ 232 h 289"/>
                    <a:gd name="T80" fmla="*/ 4 w 150"/>
                    <a:gd name="T81" fmla="*/ 204 h 289"/>
                    <a:gd name="T82" fmla="*/ 15 w 150"/>
                    <a:gd name="T83" fmla="*/ 187 h 289"/>
                    <a:gd name="T84" fmla="*/ 14 w 150"/>
                    <a:gd name="T85" fmla="*/ 143 h 289"/>
                    <a:gd name="T86" fmla="*/ 14 w 150"/>
                    <a:gd name="T87" fmla="*/ 131 h 289"/>
                    <a:gd name="T88" fmla="*/ 25 w 150"/>
                    <a:gd name="T89" fmla="*/ 129 h 289"/>
                    <a:gd name="T90" fmla="*/ 35 w 150"/>
                    <a:gd name="T91" fmla="*/ 140 h 289"/>
                    <a:gd name="T92" fmla="*/ 52 w 150"/>
                    <a:gd name="T93" fmla="*/ 145 h 289"/>
                    <a:gd name="T94" fmla="*/ 52 w 150"/>
                    <a:gd name="T95" fmla="*/ 126 h 289"/>
                    <a:gd name="T96" fmla="*/ 45 w 150"/>
                    <a:gd name="T97" fmla="*/ 115 h 289"/>
                    <a:gd name="T98" fmla="*/ 41 w 150"/>
                    <a:gd name="T99" fmla="*/ 106 h 289"/>
                    <a:gd name="T100" fmla="*/ 46 w 150"/>
                    <a:gd name="T101" fmla="*/ 106 h 289"/>
                    <a:gd name="T102" fmla="*/ 50 w 150"/>
                    <a:gd name="T103" fmla="*/ 106 h 289"/>
                    <a:gd name="T104" fmla="*/ 54 w 150"/>
                    <a:gd name="T105" fmla="*/ 106 h 289"/>
                    <a:gd name="T106" fmla="*/ 58 w 150"/>
                    <a:gd name="T107" fmla="*/ 106 h 289"/>
                    <a:gd name="T108" fmla="*/ 64 w 150"/>
                    <a:gd name="T109" fmla="*/ 98 h 289"/>
                    <a:gd name="T110" fmla="*/ 62 w 150"/>
                    <a:gd name="T111" fmla="*/ 89 h 289"/>
                    <a:gd name="T112" fmla="*/ 56 w 150"/>
                    <a:gd name="T113" fmla="*/ 70 h 289"/>
                    <a:gd name="T114" fmla="*/ 45 w 150"/>
                    <a:gd name="T115" fmla="*/ 50 h 289"/>
                    <a:gd name="T116" fmla="*/ 29 w 150"/>
                    <a:gd name="T117" fmla="*/ 39 h 289"/>
                    <a:gd name="T118" fmla="*/ 23 w 150"/>
                    <a:gd name="T119" fmla="*/ 28 h 289"/>
                    <a:gd name="T120" fmla="*/ 31 w 150"/>
                    <a:gd name="T121" fmla="*/ 0 h 2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50" h="289">
                      <a:moveTo>
                        <a:pt x="31" y="0"/>
                      </a:moveTo>
                      <a:lnTo>
                        <a:pt x="60" y="20"/>
                      </a:lnTo>
                      <a:lnTo>
                        <a:pt x="77" y="36"/>
                      </a:lnTo>
                      <a:lnTo>
                        <a:pt x="89" y="62"/>
                      </a:lnTo>
                      <a:lnTo>
                        <a:pt x="99" y="62"/>
                      </a:lnTo>
                      <a:lnTo>
                        <a:pt x="97" y="78"/>
                      </a:lnTo>
                      <a:lnTo>
                        <a:pt x="108" y="89"/>
                      </a:lnTo>
                      <a:lnTo>
                        <a:pt x="116" y="106"/>
                      </a:lnTo>
                      <a:lnTo>
                        <a:pt x="135" y="140"/>
                      </a:lnTo>
                      <a:lnTo>
                        <a:pt x="149" y="179"/>
                      </a:lnTo>
                      <a:lnTo>
                        <a:pt x="124" y="176"/>
                      </a:lnTo>
                      <a:lnTo>
                        <a:pt x="104" y="171"/>
                      </a:lnTo>
                      <a:lnTo>
                        <a:pt x="118" y="199"/>
                      </a:lnTo>
                      <a:lnTo>
                        <a:pt x="118" y="215"/>
                      </a:lnTo>
                      <a:lnTo>
                        <a:pt x="118" y="232"/>
                      </a:lnTo>
                      <a:lnTo>
                        <a:pt x="110" y="224"/>
                      </a:lnTo>
                      <a:lnTo>
                        <a:pt x="101" y="210"/>
                      </a:lnTo>
                      <a:lnTo>
                        <a:pt x="83" y="193"/>
                      </a:lnTo>
                      <a:lnTo>
                        <a:pt x="74" y="185"/>
                      </a:lnTo>
                      <a:lnTo>
                        <a:pt x="58" y="193"/>
                      </a:lnTo>
                      <a:lnTo>
                        <a:pt x="48" y="199"/>
                      </a:lnTo>
                      <a:lnTo>
                        <a:pt x="54" y="213"/>
                      </a:lnTo>
                      <a:lnTo>
                        <a:pt x="70" y="224"/>
                      </a:lnTo>
                      <a:lnTo>
                        <a:pt x="85" y="235"/>
                      </a:lnTo>
                      <a:lnTo>
                        <a:pt x="91" y="254"/>
                      </a:lnTo>
                      <a:lnTo>
                        <a:pt x="89" y="280"/>
                      </a:lnTo>
                      <a:lnTo>
                        <a:pt x="89" y="288"/>
                      </a:lnTo>
                      <a:lnTo>
                        <a:pt x="83" y="288"/>
                      </a:lnTo>
                      <a:lnTo>
                        <a:pt x="74" y="280"/>
                      </a:lnTo>
                      <a:lnTo>
                        <a:pt x="70" y="277"/>
                      </a:lnTo>
                      <a:lnTo>
                        <a:pt x="64" y="271"/>
                      </a:lnTo>
                      <a:lnTo>
                        <a:pt x="58" y="285"/>
                      </a:lnTo>
                      <a:lnTo>
                        <a:pt x="48" y="288"/>
                      </a:lnTo>
                      <a:lnTo>
                        <a:pt x="41" y="277"/>
                      </a:lnTo>
                      <a:lnTo>
                        <a:pt x="41" y="252"/>
                      </a:lnTo>
                      <a:lnTo>
                        <a:pt x="39" y="238"/>
                      </a:lnTo>
                      <a:lnTo>
                        <a:pt x="29" y="229"/>
                      </a:lnTo>
                      <a:lnTo>
                        <a:pt x="19" y="243"/>
                      </a:lnTo>
                      <a:lnTo>
                        <a:pt x="4" y="243"/>
                      </a:lnTo>
                      <a:lnTo>
                        <a:pt x="0" y="232"/>
                      </a:lnTo>
                      <a:lnTo>
                        <a:pt x="4" y="204"/>
                      </a:lnTo>
                      <a:lnTo>
                        <a:pt x="15" y="187"/>
                      </a:lnTo>
                      <a:lnTo>
                        <a:pt x="14" y="143"/>
                      </a:lnTo>
                      <a:lnTo>
                        <a:pt x="14" y="131"/>
                      </a:lnTo>
                      <a:lnTo>
                        <a:pt x="25" y="129"/>
                      </a:lnTo>
                      <a:lnTo>
                        <a:pt x="35" y="140"/>
                      </a:lnTo>
                      <a:lnTo>
                        <a:pt x="52" y="145"/>
                      </a:lnTo>
                      <a:lnTo>
                        <a:pt x="52" y="126"/>
                      </a:lnTo>
                      <a:lnTo>
                        <a:pt x="45" y="115"/>
                      </a:lnTo>
                      <a:lnTo>
                        <a:pt x="41" y="106"/>
                      </a:lnTo>
                      <a:lnTo>
                        <a:pt x="46" y="106"/>
                      </a:lnTo>
                      <a:lnTo>
                        <a:pt x="50" y="106"/>
                      </a:lnTo>
                      <a:lnTo>
                        <a:pt x="54" y="106"/>
                      </a:lnTo>
                      <a:lnTo>
                        <a:pt x="58" y="106"/>
                      </a:lnTo>
                      <a:lnTo>
                        <a:pt x="64" y="98"/>
                      </a:lnTo>
                      <a:lnTo>
                        <a:pt x="62" y="89"/>
                      </a:lnTo>
                      <a:lnTo>
                        <a:pt x="56" y="70"/>
                      </a:lnTo>
                      <a:lnTo>
                        <a:pt x="45" y="50"/>
                      </a:lnTo>
                      <a:lnTo>
                        <a:pt x="29" y="39"/>
                      </a:lnTo>
                      <a:lnTo>
                        <a:pt x="23" y="28"/>
                      </a:lnTo>
                      <a:lnTo>
                        <a:pt x="31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47" name="Freeform 23"/>
                <p:cNvSpPr>
                  <a:spLocks/>
                </p:cNvSpPr>
                <p:nvPr/>
              </p:nvSpPr>
              <p:spPr bwMode="auto">
                <a:xfrm>
                  <a:off x="4448" y="1104"/>
                  <a:ext cx="165" cy="237"/>
                </a:xfrm>
                <a:custGeom>
                  <a:avLst/>
                  <a:gdLst>
                    <a:gd name="T0" fmla="*/ 0 w 165"/>
                    <a:gd name="T1" fmla="*/ 0 h 237"/>
                    <a:gd name="T2" fmla="*/ 16 w 165"/>
                    <a:gd name="T3" fmla="*/ 0 h 237"/>
                    <a:gd name="T4" fmla="*/ 21 w 165"/>
                    <a:gd name="T5" fmla="*/ 17 h 237"/>
                    <a:gd name="T6" fmla="*/ 43 w 165"/>
                    <a:gd name="T7" fmla="*/ 42 h 237"/>
                    <a:gd name="T8" fmla="*/ 53 w 165"/>
                    <a:gd name="T9" fmla="*/ 69 h 237"/>
                    <a:gd name="T10" fmla="*/ 68 w 165"/>
                    <a:gd name="T11" fmla="*/ 72 h 237"/>
                    <a:gd name="T12" fmla="*/ 80 w 165"/>
                    <a:gd name="T13" fmla="*/ 78 h 237"/>
                    <a:gd name="T14" fmla="*/ 90 w 165"/>
                    <a:gd name="T15" fmla="*/ 89 h 237"/>
                    <a:gd name="T16" fmla="*/ 102 w 165"/>
                    <a:gd name="T17" fmla="*/ 89 h 237"/>
                    <a:gd name="T18" fmla="*/ 115 w 165"/>
                    <a:gd name="T19" fmla="*/ 106 h 237"/>
                    <a:gd name="T20" fmla="*/ 127 w 165"/>
                    <a:gd name="T21" fmla="*/ 119 h 237"/>
                    <a:gd name="T22" fmla="*/ 141 w 165"/>
                    <a:gd name="T23" fmla="*/ 128 h 237"/>
                    <a:gd name="T24" fmla="*/ 139 w 165"/>
                    <a:gd name="T25" fmla="*/ 136 h 237"/>
                    <a:gd name="T26" fmla="*/ 131 w 165"/>
                    <a:gd name="T27" fmla="*/ 142 h 237"/>
                    <a:gd name="T28" fmla="*/ 123 w 165"/>
                    <a:gd name="T29" fmla="*/ 142 h 237"/>
                    <a:gd name="T30" fmla="*/ 119 w 165"/>
                    <a:gd name="T31" fmla="*/ 150 h 237"/>
                    <a:gd name="T32" fmla="*/ 135 w 165"/>
                    <a:gd name="T33" fmla="*/ 167 h 237"/>
                    <a:gd name="T34" fmla="*/ 146 w 165"/>
                    <a:gd name="T35" fmla="*/ 183 h 237"/>
                    <a:gd name="T36" fmla="*/ 164 w 165"/>
                    <a:gd name="T37" fmla="*/ 200 h 237"/>
                    <a:gd name="T38" fmla="*/ 152 w 165"/>
                    <a:gd name="T39" fmla="*/ 219 h 237"/>
                    <a:gd name="T40" fmla="*/ 143 w 165"/>
                    <a:gd name="T41" fmla="*/ 225 h 237"/>
                    <a:gd name="T42" fmla="*/ 144 w 165"/>
                    <a:gd name="T43" fmla="*/ 236 h 237"/>
                    <a:gd name="T44" fmla="*/ 127 w 165"/>
                    <a:gd name="T45" fmla="*/ 236 h 237"/>
                    <a:gd name="T46" fmla="*/ 121 w 165"/>
                    <a:gd name="T47" fmla="*/ 228 h 237"/>
                    <a:gd name="T48" fmla="*/ 107 w 165"/>
                    <a:gd name="T49" fmla="*/ 205 h 237"/>
                    <a:gd name="T50" fmla="*/ 98 w 165"/>
                    <a:gd name="T51" fmla="*/ 186 h 237"/>
                    <a:gd name="T52" fmla="*/ 82 w 165"/>
                    <a:gd name="T53" fmla="*/ 153 h 237"/>
                    <a:gd name="T54" fmla="*/ 64 w 165"/>
                    <a:gd name="T55" fmla="*/ 128 h 237"/>
                    <a:gd name="T56" fmla="*/ 45 w 165"/>
                    <a:gd name="T57" fmla="*/ 92 h 237"/>
                    <a:gd name="T58" fmla="*/ 33 w 165"/>
                    <a:gd name="T59" fmla="*/ 81 h 237"/>
                    <a:gd name="T60" fmla="*/ 23 w 165"/>
                    <a:gd name="T61" fmla="*/ 72 h 237"/>
                    <a:gd name="T62" fmla="*/ 20 w 165"/>
                    <a:gd name="T63" fmla="*/ 53 h 237"/>
                    <a:gd name="T64" fmla="*/ 2 w 165"/>
                    <a:gd name="T65" fmla="*/ 36 h 237"/>
                    <a:gd name="T66" fmla="*/ 2 w 165"/>
                    <a:gd name="T67" fmla="*/ 25 h 237"/>
                    <a:gd name="T68" fmla="*/ 0 w 165"/>
                    <a:gd name="T69" fmla="*/ 0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65" h="237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21" y="17"/>
                      </a:lnTo>
                      <a:lnTo>
                        <a:pt x="43" y="42"/>
                      </a:lnTo>
                      <a:lnTo>
                        <a:pt x="53" y="69"/>
                      </a:lnTo>
                      <a:lnTo>
                        <a:pt x="68" y="72"/>
                      </a:lnTo>
                      <a:lnTo>
                        <a:pt x="80" y="78"/>
                      </a:lnTo>
                      <a:lnTo>
                        <a:pt x="90" y="89"/>
                      </a:lnTo>
                      <a:lnTo>
                        <a:pt x="102" y="89"/>
                      </a:lnTo>
                      <a:lnTo>
                        <a:pt x="115" y="106"/>
                      </a:lnTo>
                      <a:lnTo>
                        <a:pt x="127" y="119"/>
                      </a:lnTo>
                      <a:lnTo>
                        <a:pt x="141" y="128"/>
                      </a:lnTo>
                      <a:lnTo>
                        <a:pt x="139" y="136"/>
                      </a:lnTo>
                      <a:lnTo>
                        <a:pt x="131" y="142"/>
                      </a:lnTo>
                      <a:lnTo>
                        <a:pt x="123" y="142"/>
                      </a:lnTo>
                      <a:lnTo>
                        <a:pt x="119" y="150"/>
                      </a:lnTo>
                      <a:lnTo>
                        <a:pt x="135" y="167"/>
                      </a:lnTo>
                      <a:lnTo>
                        <a:pt x="146" y="183"/>
                      </a:lnTo>
                      <a:lnTo>
                        <a:pt x="164" y="200"/>
                      </a:lnTo>
                      <a:lnTo>
                        <a:pt x="152" y="219"/>
                      </a:lnTo>
                      <a:lnTo>
                        <a:pt x="143" y="225"/>
                      </a:lnTo>
                      <a:lnTo>
                        <a:pt x="144" y="236"/>
                      </a:lnTo>
                      <a:lnTo>
                        <a:pt x="127" y="236"/>
                      </a:lnTo>
                      <a:lnTo>
                        <a:pt x="121" y="228"/>
                      </a:lnTo>
                      <a:lnTo>
                        <a:pt x="107" y="205"/>
                      </a:lnTo>
                      <a:lnTo>
                        <a:pt x="98" y="186"/>
                      </a:lnTo>
                      <a:lnTo>
                        <a:pt x="82" y="153"/>
                      </a:lnTo>
                      <a:lnTo>
                        <a:pt x="64" y="128"/>
                      </a:lnTo>
                      <a:lnTo>
                        <a:pt x="45" y="92"/>
                      </a:lnTo>
                      <a:lnTo>
                        <a:pt x="33" y="81"/>
                      </a:lnTo>
                      <a:lnTo>
                        <a:pt x="23" y="72"/>
                      </a:lnTo>
                      <a:lnTo>
                        <a:pt x="20" y="53"/>
                      </a:lnTo>
                      <a:lnTo>
                        <a:pt x="2" y="36"/>
                      </a:lnTo>
                      <a:lnTo>
                        <a:pt x="2" y="25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  <p:grpSp>
            <p:nvGrpSpPr>
              <p:cNvPr id="1057" name="Group 33"/>
              <p:cNvGrpSpPr>
                <a:grpSpLocks/>
              </p:cNvGrpSpPr>
              <p:nvPr/>
            </p:nvGrpSpPr>
            <p:grpSpPr bwMode="auto">
              <a:xfrm>
                <a:off x="2314" y="617"/>
                <a:ext cx="2387" cy="2766"/>
                <a:chOff x="2314" y="617"/>
                <a:chExt cx="2387" cy="2766"/>
              </a:xfrm>
            </p:grpSpPr>
            <p:sp>
              <p:nvSpPr>
                <p:cNvPr id="1049" name="Freeform 25"/>
                <p:cNvSpPr>
                  <a:spLocks/>
                </p:cNvSpPr>
                <p:nvPr/>
              </p:nvSpPr>
              <p:spPr bwMode="auto">
                <a:xfrm>
                  <a:off x="2314" y="1584"/>
                  <a:ext cx="1187" cy="1799"/>
                </a:xfrm>
                <a:custGeom>
                  <a:avLst/>
                  <a:gdLst>
                    <a:gd name="T0" fmla="*/ 906 w 1187"/>
                    <a:gd name="T1" fmla="*/ 290 h 1799"/>
                    <a:gd name="T2" fmla="*/ 1017 w 1187"/>
                    <a:gd name="T3" fmla="*/ 589 h 1799"/>
                    <a:gd name="T4" fmla="*/ 1062 w 1187"/>
                    <a:gd name="T5" fmla="*/ 664 h 1799"/>
                    <a:gd name="T6" fmla="*/ 1159 w 1187"/>
                    <a:gd name="T7" fmla="*/ 645 h 1799"/>
                    <a:gd name="T8" fmla="*/ 1184 w 1187"/>
                    <a:gd name="T9" fmla="*/ 718 h 1799"/>
                    <a:gd name="T10" fmla="*/ 1067 w 1187"/>
                    <a:gd name="T11" fmla="*/ 919 h 1799"/>
                    <a:gd name="T12" fmla="*/ 972 w 1187"/>
                    <a:gd name="T13" fmla="*/ 1150 h 1799"/>
                    <a:gd name="T14" fmla="*/ 986 w 1187"/>
                    <a:gd name="T15" fmla="*/ 1234 h 1799"/>
                    <a:gd name="T16" fmla="*/ 986 w 1187"/>
                    <a:gd name="T17" fmla="*/ 1318 h 1799"/>
                    <a:gd name="T18" fmla="*/ 943 w 1187"/>
                    <a:gd name="T19" fmla="*/ 1349 h 1799"/>
                    <a:gd name="T20" fmla="*/ 881 w 1187"/>
                    <a:gd name="T21" fmla="*/ 1463 h 1799"/>
                    <a:gd name="T22" fmla="*/ 857 w 1187"/>
                    <a:gd name="T23" fmla="*/ 1561 h 1799"/>
                    <a:gd name="T24" fmla="*/ 799 w 1187"/>
                    <a:gd name="T25" fmla="*/ 1695 h 1799"/>
                    <a:gd name="T26" fmla="*/ 766 w 1187"/>
                    <a:gd name="T27" fmla="*/ 1725 h 1799"/>
                    <a:gd name="T28" fmla="*/ 694 w 1187"/>
                    <a:gd name="T29" fmla="*/ 1792 h 1799"/>
                    <a:gd name="T30" fmla="*/ 607 w 1187"/>
                    <a:gd name="T31" fmla="*/ 1770 h 1799"/>
                    <a:gd name="T32" fmla="*/ 597 w 1187"/>
                    <a:gd name="T33" fmla="*/ 1706 h 1799"/>
                    <a:gd name="T34" fmla="*/ 558 w 1187"/>
                    <a:gd name="T35" fmla="*/ 1617 h 1799"/>
                    <a:gd name="T36" fmla="*/ 550 w 1187"/>
                    <a:gd name="T37" fmla="*/ 1541 h 1799"/>
                    <a:gd name="T38" fmla="*/ 539 w 1187"/>
                    <a:gd name="T39" fmla="*/ 1491 h 1799"/>
                    <a:gd name="T40" fmla="*/ 502 w 1187"/>
                    <a:gd name="T41" fmla="*/ 1435 h 1799"/>
                    <a:gd name="T42" fmla="*/ 478 w 1187"/>
                    <a:gd name="T43" fmla="*/ 1362 h 1799"/>
                    <a:gd name="T44" fmla="*/ 511 w 1187"/>
                    <a:gd name="T45" fmla="*/ 1240 h 1799"/>
                    <a:gd name="T46" fmla="*/ 496 w 1187"/>
                    <a:gd name="T47" fmla="*/ 1067 h 1799"/>
                    <a:gd name="T48" fmla="*/ 443 w 1187"/>
                    <a:gd name="T49" fmla="*/ 980 h 1799"/>
                    <a:gd name="T50" fmla="*/ 436 w 1187"/>
                    <a:gd name="T51" fmla="*/ 843 h 1799"/>
                    <a:gd name="T52" fmla="*/ 360 w 1187"/>
                    <a:gd name="T53" fmla="*/ 793 h 1799"/>
                    <a:gd name="T54" fmla="*/ 261 w 1187"/>
                    <a:gd name="T55" fmla="*/ 807 h 1799"/>
                    <a:gd name="T56" fmla="*/ 56 w 1187"/>
                    <a:gd name="T57" fmla="*/ 698 h 1799"/>
                    <a:gd name="T58" fmla="*/ 10 w 1187"/>
                    <a:gd name="T59" fmla="*/ 522 h 1799"/>
                    <a:gd name="T60" fmla="*/ 47 w 1187"/>
                    <a:gd name="T61" fmla="*/ 396 h 1799"/>
                    <a:gd name="T62" fmla="*/ 115 w 1187"/>
                    <a:gd name="T63" fmla="*/ 260 h 1799"/>
                    <a:gd name="T64" fmla="*/ 216 w 1187"/>
                    <a:gd name="T65" fmla="*/ 156 h 1799"/>
                    <a:gd name="T66" fmla="*/ 292 w 1187"/>
                    <a:gd name="T67" fmla="*/ 47 h 1799"/>
                    <a:gd name="T68" fmla="*/ 362 w 1187"/>
                    <a:gd name="T69" fmla="*/ 75 h 1799"/>
                    <a:gd name="T70" fmla="*/ 437 w 1187"/>
                    <a:gd name="T71" fmla="*/ 28 h 1799"/>
                    <a:gd name="T72" fmla="*/ 490 w 1187"/>
                    <a:gd name="T73" fmla="*/ 6 h 1799"/>
                    <a:gd name="T74" fmla="*/ 531 w 1187"/>
                    <a:gd name="T75" fmla="*/ 61 h 1799"/>
                    <a:gd name="T76" fmla="*/ 612 w 1187"/>
                    <a:gd name="T77" fmla="*/ 151 h 1799"/>
                    <a:gd name="T78" fmla="*/ 669 w 1187"/>
                    <a:gd name="T79" fmla="*/ 109 h 1799"/>
                    <a:gd name="T80" fmla="*/ 754 w 1187"/>
                    <a:gd name="T81" fmla="*/ 140 h 1799"/>
                    <a:gd name="T82" fmla="*/ 848 w 1187"/>
                    <a:gd name="T83" fmla="*/ 137 h 17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187" h="1799">
                      <a:moveTo>
                        <a:pt x="887" y="215"/>
                      </a:moveTo>
                      <a:lnTo>
                        <a:pt x="906" y="290"/>
                      </a:lnTo>
                      <a:lnTo>
                        <a:pt x="943" y="405"/>
                      </a:lnTo>
                      <a:lnTo>
                        <a:pt x="1017" y="589"/>
                      </a:lnTo>
                      <a:lnTo>
                        <a:pt x="1044" y="611"/>
                      </a:lnTo>
                      <a:lnTo>
                        <a:pt x="1062" y="664"/>
                      </a:lnTo>
                      <a:lnTo>
                        <a:pt x="1120" y="662"/>
                      </a:lnTo>
                      <a:lnTo>
                        <a:pt x="1159" y="645"/>
                      </a:lnTo>
                      <a:lnTo>
                        <a:pt x="1186" y="645"/>
                      </a:lnTo>
                      <a:lnTo>
                        <a:pt x="1184" y="718"/>
                      </a:lnTo>
                      <a:lnTo>
                        <a:pt x="1174" y="757"/>
                      </a:lnTo>
                      <a:lnTo>
                        <a:pt x="1067" y="919"/>
                      </a:lnTo>
                      <a:lnTo>
                        <a:pt x="970" y="1086"/>
                      </a:lnTo>
                      <a:lnTo>
                        <a:pt x="972" y="1150"/>
                      </a:lnTo>
                      <a:lnTo>
                        <a:pt x="999" y="1198"/>
                      </a:lnTo>
                      <a:lnTo>
                        <a:pt x="986" y="1234"/>
                      </a:lnTo>
                      <a:lnTo>
                        <a:pt x="994" y="1281"/>
                      </a:lnTo>
                      <a:lnTo>
                        <a:pt x="986" y="1318"/>
                      </a:lnTo>
                      <a:lnTo>
                        <a:pt x="962" y="1349"/>
                      </a:lnTo>
                      <a:lnTo>
                        <a:pt x="943" y="1349"/>
                      </a:lnTo>
                      <a:lnTo>
                        <a:pt x="910" y="1402"/>
                      </a:lnTo>
                      <a:lnTo>
                        <a:pt x="881" y="1463"/>
                      </a:lnTo>
                      <a:lnTo>
                        <a:pt x="887" y="1530"/>
                      </a:lnTo>
                      <a:lnTo>
                        <a:pt x="857" y="1561"/>
                      </a:lnTo>
                      <a:lnTo>
                        <a:pt x="830" y="1630"/>
                      </a:lnTo>
                      <a:lnTo>
                        <a:pt x="799" y="1695"/>
                      </a:lnTo>
                      <a:lnTo>
                        <a:pt x="782" y="1720"/>
                      </a:lnTo>
                      <a:lnTo>
                        <a:pt x="766" y="1725"/>
                      </a:lnTo>
                      <a:lnTo>
                        <a:pt x="739" y="1767"/>
                      </a:lnTo>
                      <a:lnTo>
                        <a:pt x="694" y="1792"/>
                      </a:lnTo>
                      <a:lnTo>
                        <a:pt x="638" y="1798"/>
                      </a:lnTo>
                      <a:lnTo>
                        <a:pt x="607" y="1770"/>
                      </a:lnTo>
                      <a:lnTo>
                        <a:pt x="603" y="1742"/>
                      </a:lnTo>
                      <a:lnTo>
                        <a:pt x="597" y="1706"/>
                      </a:lnTo>
                      <a:lnTo>
                        <a:pt x="576" y="1686"/>
                      </a:lnTo>
                      <a:lnTo>
                        <a:pt x="558" y="1617"/>
                      </a:lnTo>
                      <a:lnTo>
                        <a:pt x="552" y="1583"/>
                      </a:lnTo>
                      <a:lnTo>
                        <a:pt x="550" y="1541"/>
                      </a:lnTo>
                      <a:lnTo>
                        <a:pt x="541" y="1510"/>
                      </a:lnTo>
                      <a:lnTo>
                        <a:pt x="539" y="1491"/>
                      </a:lnTo>
                      <a:lnTo>
                        <a:pt x="521" y="1460"/>
                      </a:lnTo>
                      <a:lnTo>
                        <a:pt x="502" y="1435"/>
                      </a:lnTo>
                      <a:lnTo>
                        <a:pt x="488" y="1393"/>
                      </a:lnTo>
                      <a:lnTo>
                        <a:pt x="478" y="1362"/>
                      </a:lnTo>
                      <a:lnTo>
                        <a:pt x="482" y="1312"/>
                      </a:lnTo>
                      <a:lnTo>
                        <a:pt x="511" y="1240"/>
                      </a:lnTo>
                      <a:lnTo>
                        <a:pt x="517" y="1159"/>
                      </a:lnTo>
                      <a:lnTo>
                        <a:pt x="496" y="1067"/>
                      </a:lnTo>
                      <a:lnTo>
                        <a:pt x="465" y="1030"/>
                      </a:lnTo>
                      <a:lnTo>
                        <a:pt x="443" y="980"/>
                      </a:lnTo>
                      <a:lnTo>
                        <a:pt x="451" y="902"/>
                      </a:lnTo>
                      <a:lnTo>
                        <a:pt x="436" y="843"/>
                      </a:lnTo>
                      <a:lnTo>
                        <a:pt x="399" y="838"/>
                      </a:lnTo>
                      <a:lnTo>
                        <a:pt x="360" y="793"/>
                      </a:lnTo>
                      <a:lnTo>
                        <a:pt x="311" y="768"/>
                      </a:lnTo>
                      <a:lnTo>
                        <a:pt x="261" y="807"/>
                      </a:lnTo>
                      <a:lnTo>
                        <a:pt x="128" y="796"/>
                      </a:lnTo>
                      <a:lnTo>
                        <a:pt x="56" y="698"/>
                      </a:lnTo>
                      <a:lnTo>
                        <a:pt x="0" y="567"/>
                      </a:lnTo>
                      <a:lnTo>
                        <a:pt x="10" y="522"/>
                      </a:lnTo>
                      <a:lnTo>
                        <a:pt x="35" y="489"/>
                      </a:lnTo>
                      <a:lnTo>
                        <a:pt x="47" y="396"/>
                      </a:lnTo>
                      <a:lnTo>
                        <a:pt x="64" y="329"/>
                      </a:lnTo>
                      <a:lnTo>
                        <a:pt x="115" y="260"/>
                      </a:lnTo>
                      <a:lnTo>
                        <a:pt x="167" y="229"/>
                      </a:lnTo>
                      <a:lnTo>
                        <a:pt x="216" y="156"/>
                      </a:lnTo>
                      <a:lnTo>
                        <a:pt x="227" y="126"/>
                      </a:lnTo>
                      <a:lnTo>
                        <a:pt x="292" y="47"/>
                      </a:lnTo>
                      <a:lnTo>
                        <a:pt x="332" y="78"/>
                      </a:lnTo>
                      <a:lnTo>
                        <a:pt x="362" y="75"/>
                      </a:lnTo>
                      <a:lnTo>
                        <a:pt x="397" y="34"/>
                      </a:lnTo>
                      <a:lnTo>
                        <a:pt x="437" y="28"/>
                      </a:lnTo>
                      <a:lnTo>
                        <a:pt x="465" y="39"/>
                      </a:lnTo>
                      <a:lnTo>
                        <a:pt x="490" y="6"/>
                      </a:lnTo>
                      <a:lnTo>
                        <a:pt x="523" y="0"/>
                      </a:lnTo>
                      <a:lnTo>
                        <a:pt x="531" y="61"/>
                      </a:lnTo>
                      <a:lnTo>
                        <a:pt x="552" y="106"/>
                      </a:lnTo>
                      <a:lnTo>
                        <a:pt x="612" y="151"/>
                      </a:lnTo>
                      <a:lnTo>
                        <a:pt x="663" y="159"/>
                      </a:lnTo>
                      <a:lnTo>
                        <a:pt x="669" y="109"/>
                      </a:lnTo>
                      <a:lnTo>
                        <a:pt x="708" y="109"/>
                      </a:lnTo>
                      <a:lnTo>
                        <a:pt x="754" y="140"/>
                      </a:lnTo>
                      <a:lnTo>
                        <a:pt x="805" y="156"/>
                      </a:lnTo>
                      <a:lnTo>
                        <a:pt x="848" y="137"/>
                      </a:lnTo>
                      <a:lnTo>
                        <a:pt x="887" y="215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grpSp>
              <p:nvGrpSpPr>
                <p:cNvPr id="1054" name="Group 30"/>
                <p:cNvGrpSpPr>
                  <a:grpSpLocks/>
                </p:cNvGrpSpPr>
                <p:nvPr/>
              </p:nvGrpSpPr>
              <p:grpSpPr bwMode="auto">
                <a:xfrm>
                  <a:off x="2395" y="617"/>
                  <a:ext cx="526" cy="620"/>
                  <a:chOff x="2395" y="617"/>
                  <a:chExt cx="526" cy="620"/>
                </a:xfrm>
              </p:grpSpPr>
              <p:grpSp>
                <p:nvGrpSpPr>
                  <p:cNvPr id="1052" name="Group 28"/>
                  <p:cNvGrpSpPr>
                    <a:grpSpLocks/>
                  </p:cNvGrpSpPr>
                  <p:nvPr/>
                </p:nvGrpSpPr>
                <p:grpSpPr bwMode="auto">
                  <a:xfrm>
                    <a:off x="2603" y="1004"/>
                    <a:ext cx="165" cy="233"/>
                    <a:chOff x="2603" y="1004"/>
                    <a:chExt cx="165" cy="233"/>
                  </a:xfrm>
                </p:grpSpPr>
                <p:sp>
                  <p:nvSpPr>
                    <p:cNvPr id="1050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2603" y="1089"/>
                      <a:ext cx="78" cy="132"/>
                    </a:xfrm>
                    <a:custGeom>
                      <a:avLst/>
                      <a:gdLst>
                        <a:gd name="T0" fmla="*/ 18 w 78"/>
                        <a:gd name="T1" fmla="*/ 40 h 132"/>
                        <a:gd name="T2" fmla="*/ 24 w 78"/>
                        <a:gd name="T3" fmla="*/ 26 h 132"/>
                        <a:gd name="T4" fmla="*/ 38 w 78"/>
                        <a:gd name="T5" fmla="*/ 26 h 132"/>
                        <a:gd name="T6" fmla="*/ 57 w 78"/>
                        <a:gd name="T7" fmla="*/ 0 h 132"/>
                        <a:gd name="T8" fmla="*/ 63 w 78"/>
                        <a:gd name="T9" fmla="*/ 17 h 132"/>
                        <a:gd name="T10" fmla="*/ 73 w 78"/>
                        <a:gd name="T11" fmla="*/ 17 h 132"/>
                        <a:gd name="T12" fmla="*/ 77 w 78"/>
                        <a:gd name="T13" fmla="*/ 26 h 132"/>
                        <a:gd name="T14" fmla="*/ 71 w 78"/>
                        <a:gd name="T15" fmla="*/ 40 h 132"/>
                        <a:gd name="T16" fmla="*/ 63 w 78"/>
                        <a:gd name="T17" fmla="*/ 46 h 132"/>
                        <a:gd name="T18" fmla="*/ 63 w 78"/>
                        <a:gd name="T19" fmla="*/ 57 h 132"/>
                        <a:gd name="T20" fmla="*/ 61 w 78"/>
                        <a:gd name="T21" fmla="*/ 63 h 132"/>
                        <a:gd name="T22" fmla="*/ 59 w 78"/>
                        <a:gd name="T23" fmla="*/ 71 h 132"/>
                        <a:gd name="T24" fmla="*/ 63 w 78"/>
                        <a:gd name="T25" fmla="*/ 83 h 132"/>
                        <a:gd name="T26" fmla="*/ 57 w 78"/>
                        <a:gd name="T27" fmla="*/ 94 h 132"/>
                        <a:gd name="T28" fmla="*/ 51 w 78"/>
                        <a:gd name="T29" fmla="*/ 100 h 132"/>
                        <a:gd name="T30" fmla="*/ 45 w 78"/>
                        <a:gd name="T31" fmla="*/ 100 h 132"/>
                        <a:gd name="T32" fmla="*/ 43 w 78"/>
                        <a:gd name="T33" fmla="*/ 103 h 132"/>
                        <a:gd name="T34" fmla="*/ 41 w 78"/>
                        <a:gd name="T35" fmla="*/ 111 h 132"/>
                        <a:gd name="T36" fmla="*/ 32 w 78"/>
                        <a:gd name="T37" fmla="*/ 114 h 132"/>
                        <a:gd name="T38" fmla="*/ 30 w 78"/>
                        <a:gd name="T39" fmla="*/ 111 h 132"/>
                        <a:gd name="T40" fmla="*/ 22 w 78"/>
                        <a:gd name="T41" fmla="*/ 120 h 132"/>
                        <a:gd name="T42" fmla="*/ 20 w 78"/>
                        <a:gd name="T43" fmla="*/ 122 h 132"/>
                        <a:gd name="T44" fmla="*/ 10 w 78"/>
                        <a:gd name="T45" fmla="*/ 131 h 132"/>
                        <a:gd name="T46" fmla="*/ 6 w 78"/>
                        <a:gd name="T47" fmla="*/ 131 h 132"/>
                        <a:gd name="T48" fmla="*/ 4 w 78"/>
                        <a:gd name="T49" fmla="*/ 125 h 132"/>
                        <a:gd name="T50" fmla="*/ 2 w 78"/>
                        <a:gd name="T51" fmla="*/ 111 h 132"/>
                        <a:gd name="T52" fmla="*/ 0 w 78"/>
                        <a:gd name="T53" fmla="*/ 108 h 132"/>
                        <a:gd name="T54" fmla="*/ 0 w 78"/>
                        <a:gd name="T55" fmla="*/ 97 h 132"/>
                        <a:gd name="T56" fmla="*/ 6 w 78"/>
                        <a:gd name="T57" fmla="*/ 91 h 132"/>
                        <a:gd name="T58" fmla="*/ 12 w 78"/>
                        <a:gd name="T59" fmla="*/ 85 h 132"/>
                        <a:gd name="T60" fmla="*/ 16 w 78"/>
                        <a:gd name="T61" fmla="*/ 74 h 132"/>
                        <a:gd name="T62" fmla="*/ 22 w 78"/>
                        <a:gd name="T63" fmla="*/ 74 h 132"/>
                        <a:gd name="T64" fmla="*/ 26 w 78"/>
                        <a:gd name="T65" fmla="*/ 77 h 132"/>
                        <a:gd name="T66" fmla="*/ 32 w 78"/>
                        <a:gd name="T67" fmla="*/ 74 h 132"/>
                        <a:gd name="T68" fmla="*/ 26 w 78"/>
                        <a:gd name="T69" fmla="*/ 71 h 132"/>
                        <a:gd name="T70" fmla="*/ 18 w 78"/>
                        <a:gd name="T71" fmla="*/ 40 h 13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</a:cxnLst>
                      <a:rect l="0" t="0" r="r" b="b"/>
                      <a:pathLst>
                        <a:path w="78" h="132">
                          <a:moveTo>
                            <a:pt x="18" y="40"/>
                          </a:moveTo>
                          <a:lnTo>
                            <a:pt x="24" y="26"/>
                          </a:lnTo>
                          <a:lnTo>
                            <a:pt x="38" y="26"/>
                          </a:lnTo>
                          <a:lnTo>
                            <a:pt x="57" y="0"/>
                          </a:lnTo>
                          <a:lnTo>
                            <a:pt x="63" y="17"/>
                          </a:lnTo>
                          <a:lnTo>
                            <a:pt x="73" y="17"/>
                          </a:lnTo>
                          <a:lnTo>
                            <a:pt x="77" y="26"/>
                          </a:lnTo>
                          <a:lnTo>
                            <a:pt x="71" y="40"/>
                          </a:lnTo>
                          <a:lnTo>
                            <a:pt x="63" y="46"/>
                          </a:lnTo>
                          <a:lnTo>
                            <a:pt x="63" y="57"/>
                          </a:lnTo>
                          <a:lnTo>
                            <a:pt x="61" y="63"/>
                          </a:lnTo>
                          <a:lnTo>
                            <a:pt x="59" y="71"/>
                          </a:lnTo>
                          <a:lnTo>
                            <a:pt x="63" y="83"/>
                          </a:lnTo>
                          <a:lnTo>
                            <a:pt x="57" y="94"/>
                          </a:lnTo>
                          <a:lnTo>
                            <a:pt x="51" y="100"/>
                          </a:lnTo>
                          <a:lnTo>
                            <a:pt x="45" y="100"/>
                          </a:lnTo>
                          <a:lnTo>
                            <a:pt x="43" y="103"/>
                          </a:lnTo>
                          <a:lnTo>
                            <a:pt x="41" y="111"/>
                          </a:lnTo>
                          <a:lnTo>
                            <a:pt x="32" y="114"/>
                          </a:lnTo>
                          <a:lnTo>
                            <a:pt x="30" y="111"/>
                          </a:lnTo>
                          <a:lnTo>
                            <a:pt x="22" y="120"/>
                          </a:lnTo>
                          <a:lnTo>
                            <a:pt x="20" y="122"/>
                          </a:lnTo>
                          <a:lnTo>
                            <a:pt x="10" y="131"/>
                          </a:lnTo>
                          <a:lnTo>
                            <a:pt x="6" y="131"/>
                          </a:lnTo>
                          <a:lnTo>
                            <a:pt x="4" y="125"/>
                          </a:lnTo>
                          <a:lnTo>
                            <a:pt x="2" y="111"/>
                          </a:lnTo>
                          <a:lnTo>
                            <a:pt x="0" y="108"/>
                          </a:lnTo>
                          <a:lnTo>
                            <a:pt x="0" y="97"/>
                          </a:lnTo>
                          <a:lnTo>
                            <a:pt x="6" y="91"/>
                          </a:lnTo>
                          <a:lnTo>
                            <a:pt x="12" y="85"/>
                          </a:lnTo>
                          <a:lnTo>
                            <a:pt x="16" y="74"/>
                          </a:lnTo>
                          <a:lnTo>
                            <a:pt x="22" y="74"/>
                          </a:lnTo>
                          <a:lnTo>
                            <a:pt x="26" y="77"/>
                          </a:lnTo>
                          <a:lnTo>
                            <a:pt x="32" y="74"/>
                          </a:lnTo>
                          <a:lnTo>
                            <a:pt x="26" y="71"/>
                          </a:lnTo>
                          <a:lnTo>
                            <a:pt x="18" y="40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 cap="rnd">
                          <a:solidFill>
                            <a:schemeClr val="tx1"/>
                          </a:solidFill>
                          <a:round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pPr eaLnBrk="0" latinLnBrk="0" hangingPunct="0"/>
                      <a:endParaRPr kumimoji="0" lang="ko-KR" altLang="en-US" sz="2400" smtClean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</a:endParaRPr>
                    </a:p>
                  </p:txBody>
                </p:sp>
                <p:sp>
                  <p:nvSpPr>
                    <p:cNvPr id="1051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2674" y="1004"/>
                      <a:ext cx="94" cy="233"/>
                    </a:xfrm>
                    <a:custGeom>
                      <a:avLst/>
                      <a:gdLst>
                        <a:gd name="T0" fmla="*/ 36 w 94"/>
                        <a:gd name="T1" fmla="*/ 25 h 233"/>
                        <a:gd name="T2" fmla="*/ 57 w 94"/>
                        <a:gd name="T3" fmla="*/ 22 h 233"/>
                        <a:gd name="T4" fmla="*/ 65 w 94"/>
                        <a:gd name="T5" fmla="*/ 14 h 233"/>
                        <a:gd name="T6" fmla="*/ 75 w 94"/>
                        <a:gd name="T7" fmla="*/ 6 h 233"/>
                        <a:gd name="T8" fmla="*/ 93 w 94"/>
                        <a:gd name="T9" fmla="*/ 3 h 233"/>
                        <a:gd name="T10" fmla="*/ 87 w 94"/>
                        <a:gd name="T11" fmla="*/ 22 h 233"/>
                        <a:gd name="T12" fmla="*/ 79 w 94"/>
                        <a:gd name="T13" fmla="*/ 28 h 233"/>
                        <a:gd name="T14" fmla="*/ 67 w 94"/>
                        <a:gd name="T15" fmla="*/ 45 h 233"/>
                        <a:gd name="T16" fmla="*/ 81 w 94"/>
                        <a:gd name="T17" fmla="*/ 45 h 233"/>
                        <a:gd name="T18" fmla="*/ 93 w 94"/>
                        <a:gd name="T19" fmla="*/ 45 h 233"/>
                        <a:gd name="T20" fmla="*/ 85 w 94"/>
                        <a:gd name="T21" fmla="*/ 64 h 233"/>
                        <a:gd name="T22" fmla="*/ 71 w 94"/>
                        <a:gd name="T23" fmla="*/ 73 h 233"/>
                        <a:gd name="T24" fmla="*/ 69 w 94"/>
                        <a:gd name="T25" fmla="*/ 87 h 233"/>
                        <a:gd name="T26" fmla="*/ 81 w 94"/>
                        <a:gd name="T27" fmla="*/ 106 h 233"/>
                        <a:gd name="T28" fmla="*/ 87 w 94"/>
                        <a:gd name="T29" fmla="*/ 126 h 233"/>
                        <a:gd name="T30" fmla="*/ 93 w 94"/>
                        <a:gd name="T31" fmla="*/ 151 h 233"/>
                        <a:gd name="T32" fmla="*/ 89 w 94"/>
                        <a:gd name="T33" fmla="*/ 182 h 233"/>
                        <a:gd name="T34" fmla="*/ 79 w 94"/>
                        <a:gd name="T35" fmla="*/ 196 h 233"/>
                        <a:gd name="T36" fmla="*/ 87 w 94"/>
                        <a:gd name="T37" fmla="*/ 218 h 233"/>
                        <a:gd name="T38" fmla="*/ 65 w 94"/>
                        <a:gd name="T39" fmla="*/ 218 h 233"/>
                        <a:gd name="T40" fmla="*/ 53 w 94"/>
                        <a:gd name="T41" fmla="*/ 215 h 233"/>
                        <a:gd name="T42" fmla="*/ 36 w 94"/>
                        <a:gd name="T43" fmla="*/ 224 h 233"/>
                        <a:gd name="T44" fmla="*/ 26 w 94"/>
                        <a:gd name="T45" fmla="*/ 226 h 233"/>
                        <a:gd name="T46" fmla="*/ 14 w 94"/>
                        <a:gd name="T47" fmla="*/ 229 h 233"/>
                        <a:gd name="T48" fmla="*/ 4 w 94"/>
                        <a:gd name="T49" fmla="*/ 221 h 233"/>
                        <a:gd name="T50" fmla="*/ 0 w 94"/>
                        <a:gd name="T51" fmla="*/ 207 h 233"/>
                        <a:gd name="T52" fmla="*/ 10 w 94"/>
                        <a:gd name="T53" fmla="*/ 193 h 233"/>
                        <a:gd name="T54" fmla="*/ 24 w 94"/>
                        <a:gd name="T55" fmla="*/ 190 h 233"/>
                        <a:gd name="T56" fmla="*/ 16 w 94"/>
                        <a:gd name="T57" fmla="*/ 182 h 233"/>
                        <a:gd name="T58" fmla="*/ 16 w 94"/>
                        <a:gd name="T59" fmla="*/ 168 h 233"/>
                        <a:gd name="T60" fmla="*/ 28 w 94"/>
                        <a:gd name="T61" fmla="*/ 159 h 233"/>
                        <a:gd name="T62" fmla="*/ 38 w 94"/>
                        <a:gd name="T63" fmla="*/ 157 h 233"/>
                        <a:gd name="T64" fmla="*/ 44 w 94"/>
                        <a:gd name="T65" fmla="*/ 131 h 233"/>
                        <a:gd name="T66" fmla="*/ 49 w 94"/>
                        <a:gd name="T67" fmla="*/ 106 h 233"/>
                        <a:gd name="T68" fmla="*/ 40 w 94"/>
                        <a:gd name="T69" fmla="*/ 89 h 233"/>
                        <a:gd name="T70" fmla="*/ 20 w 94"/>
                        <a:gd name="T71" fmla="*/ 84 h 233"/>
                        <a:gd name="T72" fmla="*/ 30 w 94"/>
                        <a:gd name="T73" fmla="*/ 34 h 23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</a:cxnLst>
                      <a:rect l="0" t="0" r="r" b="b"/>
                      <a:pathLst>
                        <a:path w="94" h="233">
                          <a:moveTo>
                            <a:pt x="30" y="34"/>
                          </a:moveTo>
                          <a:lnTo>
                            <a:pt x="36" y="25"/>
                          </a:lnTo>
                          <a:lnTo>
                            <a:pt x="53" y="28"/>
                          </a:lnTo>
                          <a:lnTo>
                            <a:pt x="57" y="22"/>
                          </a:lnTo>
                          <a:lnTo>
                            <a:pt x="61" y="14"/>
                          </a:lnTo>
                          <a:lnTo>
                            <a:pt x="65" y="14"/>
                          </a:lnTo>
                          <a:lnTo>
                            <a:pt x="69" y="11"/>
                          </a:lnTo>
                          <a:lnTo>
                            <a:pt x="75" y="6"/>
                          </a:lnTo>
                          <a:lnTo>
                            <a:pt x="83" y="0"/>
                          </a:lnTo>
                          <a:lnTo>
                            <a:pt x="93" y="3"/>
                          </a:lnTo>
                          <a:lnTo>
                            <a:pt x="91" y="14"/>
                          </a:lnTo>
                          <a:lnTo>
                            <a:pt x="87" y="22"/>
                          </a:lnTo>
                          <a:lnTo>
                            <a:pt x="83" y="25"/>
                          </a:lnTo>
                          <a:lnTo>
                            <a:pt x="79" y="28"/>
                          </a:lnTo>
                          <a:lnTo>
                            <a:pt x="67" y="34"/>
                          </a:lnTo>
                          <a:lnTo>
                            <a:pt x="67" y="45"/>
                          </a:lnTo>
                          <a:lnTo>
                            <a:pt x="69" y="50"/>
                          </a:lnTo>
                          <a:lnTo>
                            <a:pt x="81" y="45"/>
                          </a:lnTo>
                          <a:lnTo>
                            <a:pt x="91" y="39"/>
                          </a:lnTo>
                          <a:lnTo>
                            <a:pt x="93" y="45"/>
                          </a:lnTo>
                          <a:lnTo>
                            <a:pt x="93" y="61"/>
                          </a:lnTo>
                          <a:lnTo>
                            <a:pt x="85" y="64"/>
                          </a:lnTo>
                          <a:lnTo>
                            <a:pt x="77" y="64"/>
                          </a:lnTo>
                          <a:lnTo>
                            <a:pt x="71" y="73"/>
                          </a:lnTo>
                          <a:lnTo>
                            <a:pt x="69" y="78"/>
                          </a:lnTo>
                          <a:lnTo>
                            <a:pt x="69" y="87"/>
                          </a:lnTo>
                          <a:lnTo>
                            <a:pt x="75" y="98"/>
                          </a:lnTo>
                          <a:lnTo>
                            <a:pt x="81" y="106"/>
                          </a:lnTo>
                          <a:lnTo>
                            <a:pt x="85" y="115"/>
                          </a:lnTo>
                          <a:lnTo>
                            <a:pt x="87" y="126"/>
                          </a:lnTo>
                          <a:lnTo>
                            <a:pt x="89" y="137"/>
                          </a:lnTo>
                          <a:lnTo>
                            <a:pt x="93" y="151"/>
                          </a:lnTo>
                          <a:lnTo>
                            <a:pt x="93" y="171"/>
                          </a:lnTo>
                          <a:lnTo>
                            <a:pt x="89" y="182"/>
                          </a:lnTo>
                          <a:lnTo>
                            <a:pt x="81" y="190"/>
                          </a:lnTo>
                          <a:lnTo>
                            <a:pt x="79" y="196"/>
                          </a:lnTo>
                          <a:lnTo>
                            <a:pt x="83" y="207"/>
                          </a:lnTo>
                          <a:lnTo>
                            <a:pt x="87" y="218"/>
                          </a:lnTo>
                          <a:lnTo>
                            <a:pt x="75" y="218"/>
                          </a:lnTo>
                          <a:lnTo>
                            <a:pt x="65" y="218"/>
                          </a:lnTo>
                          <a:lnTo>
                            <a:pt x="61" y="215"/>
                          </a:lnTo>
                          <a:lnTo>
                            <a:pt x="53" y="215"/>
                          </a:lnTo>
                          <a:lnTo>
                            <a:pt x="44" y="218"/>
                          </a:lnTo>
                          <a:lnTo>
                            <a:pt x="36" y="224"/>
                          </a:lnTo>
                          <a:lnTo>
                            <a:pt x="30" y="224"/>
                          </a:lnTo>
                          <a:lnTo>
                            <a:pt x="26" y="226"/>
                          </a:lnTo>
                          <a:lnTo>
                            <a:pt x="16" y="232"/>
                          </a:lnTo>
                          <a:lnTo>
                            <a:pt x="14" y="229"/>
                          </a:lnTo>
                          <a:lnTo>
                            <a:pt x="10" y="224"/>
                          </a:lnTo>
                          <a:lnTo>
                            <a:pt x="4" y="221"/>
                          </a:lnTo>
                          <a:lnTo>
                            <a:pt x="0" y="218"/>
                          </a:lnTo>
                          <a:lnTo>
                            <a:pt x="0" y="207"/>
                          </a:lnTo>
                          <a:lnTo>
                            <a:pt x="4" y="193"/>
                          </a:lnTo>
                          <a:lnTo>
                            <a:pt x="10" y="193"/>
                          </a:lnTo>
                          <a:lnTo>
                            <a:pt x="16" y="190"/>
                          </a:lnTo>
                          <a:lnTo>
                            <a:pt x="24" y="190"/>
                          </a:lnTo>
                          <a:lnTo>
                            <a:pt x="24" y="187"/>
                          </a:lnTo>
                          <a:lnTo>
                            <a:pt x="16" y="182"/>
                          </a:lnTo>
                          <a:lnTo>
                            <a:pt x="16" y="173"/>
                          </a:lnTo>
                          <a:lnTo>
                            <a:pt x="16" y="168"/>
                          </a:lnTo>
                          <a:lnTo>
                            <a:pt x="24" y="162"/>
                          </a:lnTo>
                          <a:lnTo>
                            <a:pt x="28" y="159"/>
                          </a:lnTo>
                          <a:lnTo>
                            <a:pt x="32" y="157"/>
                          </a:lnTo>
                          <a:lnTo>
                            <a:pt x="38" y="157"/>
                          </a:lnTo>
                          <a:lnTo>
                            <a:pt x="42" y="154"/>
                          </a:lnTo>
                          <a:lnTo>
                            <a:pt x="44" y="131"/>
                          </a:lnTo>
                          <a:lnTo>
                            <a:pt x="49" y="115"/>
                          </a:lnTo>
                          <a:lnTo>
                            <a:pt x="49" y="106"/>
                          </a:lnTo>
                          <a:lnTo>
                            <a:pt x="36" y="103"/>
                          </a:lnTo>
                          <a:lnTo>
                            <a:pt x="40" y="89"/>
                          </a:lnTo>
                          <a:lnTo>
                            <a:pt x="30" y="81"/>
                          </a:lnTo>
                          <a:lnTo>
                            <a:pt x="20" y="84"/>
                          </a:lnTo>
                          <a:lnTo>
                            <a:pt x="32" y="64"/>
                          </a:lnTo>
                          <a:lnTo>
                            <a:pt x="30" y="34"/>
                          </a:lnTo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 cap="rnd">
                          <a:solidFill>
                            <a:schemeClr val="tx1"/>
                          </a:solidFill>
                          <a:round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pPr eaLnBrk="0" latinLnBrk="0" hangingPunct="0"/>
                      <a:endParaRPr kumimoji="0" lang="ko-KR" altLang="en-US" sz="2400" smtClean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</a:endParaRPr>
                    </a:p>
                  </p:txBody>
                </p:sp>
              </p:grpSp>
              <p:sp>
                <p:nvSpPr>
                  <p:cNvPr id="1053" name="Freeform 29"/>
                  <p:cNvSpPr>
                    <a:spLocks/>
                  </p:cNvSpPr>
                  <p:nvPr/>
                </p:nvSpPr>
                <p:spPr bwMode="auto">
                  <a:xfrm>
                    <a:off x="2395" y="617"/>
                    <a:ext cx="526" cy="390"/>
                  </a:xfrm>
                  <a:custGeom>
                    <a:avLst/>
                    <a:gdLst>
                      <a:gd name="T0" fmla="*/ 33 w 526"/>
                      <a:gd name="T1" fmla="*/ 381 h 390"/>
                      <a:gd name="T2" fmla="*/ 53 w 526"/>
                      <a:gd name="T3" fmla="*/ 353 h 390"/>
                      <a:gd name="T4" fmla="*/ 64 w 526"/>
                      <a:gd name="T5" fmla="*/ 344 h 390"/>
                      <a:gd name="T6" fmla="*/ 82 w 526"/>
                      <a:gd name="T7" fmla="*/ 336 h 390"/>
                      <a:gd name="T8" fmla="*/ 95 w 526"/>
                      <a:gd name="T9" fmla="*/ 336 h 390"/>
                      <a:gd name="T10" fmla="*/ 107 w 526"/>
                      <a:gd name="T11" fmla="*/ 325 h 390"/>
                      <a:gd name="T12" fmla="*/ 121 w 526"/>
                      <a:gd name="T13" fmla="*/ 308 h 390"/>
                      <a:gd name="T14" fmla="*/ 134 w 526"/>
                      <a:gd name="T15" fmla="*/ 299 h 390"/>
                      <a:gd name="T16" fmla="*/ 148 w 526"/>
                      <a:gd name="T17" fmla="*/ 291 h 390"/>
                      <a:gd name="T18" fmla="*/ 163 w 526"/>
                      <a:gd name="T19" fmla="*/ 280 h 390"/>
                      <a:gd name="T20" fmla="*/ 183 w 526"/>
                      <a:gd name="T21" fmla="*/ 274 h 390"/>
                      <a:gd name="T22" fmla="*/ 214 w 526"/>
                      <a:gd name="T23" fmla="*/ 280 h 390"/>
                      <a:gd name="T24" fmla="*/ 239 w 526"/>
                      <a:gd name="T25" fmla="*/ 269 h 390"/>
                      <a:gd name="T26" fmla="*/ 253 w 526"/>
                      <a:gd name="T27" fmla="*/ 241 h 390"/>
                      <a:gd name="T28" fmla="*/ 270 w 526"/>
                      <a:gd name="T29" fmla="*/ 218 h 390"/>
                      <a:gd name="T30" fmla="*/ 282 w 526"/>
                      <a:gd name="T31" fmla="*/ 199 h 390"/>
                      <a:gd name="T32" fmla="*/ 292 w 526"/>
                      <a:gd name="T33" fmla="*/ 182 h 390"/>
                      <a:gd name="T34" fmla="*/ 315 w 526"/>
                      <a:gd name="T35" fmla="*/ 165 h 390"/>
                      <a:gd name="T36" fmla="*/ 311 w 526"/>
                      <a:gd name="T37" fmla="*/ 188 h 390"/>
                      <a:gd name="T38" fmla="*/ 329 w 526"/>
                      <a:gd name="T39" fmla="*/ 199 h 390"/>
                      <a:gd name="T40" fmla="*/ 344 w 526"/>
                      <a:gd name="T41" fmla="*/ 190 h 390"/>
                      <a:gd name="T42" fmla="*/ 350 w 526"/>
                      <a:gd name="T43" fmla="*/ 174 h 390"/>
                      <a:gd name="T44" fmla="*/ 356 w 526"/>
                      <a:gd name="T45" fmla="*/ 157 h 390"/>
                      <a:gd name="T46" fmla="*/ 366 w 526"/>
                      <a:gd name="T47" fmla="*/ 140 h 390"/>
                      <a:gd name="T48" fmla="*/ 395 w 526"/>
                      <a:gd name="T49" fmla="*/ 140 h 390"/>
                      <a:gd name="T50" fmla="*/ 424 w 526"/>
                      <a:gd name="T51" fmla="*/ 112 h 390"/>
                      <a:gd name="T52" fmla="*/ 453 w 526"/>
                      <a:gd name="T53" fmla="*/ 92 h 390"/>
                      <a:gd name="T54" fmla="*/ 484 w 526"/>
                      <a:gd name="T55" fmla="*/ 45 h 390"/>
                      <a:gd name="T56" fmla="*/ 511 w 526"/>
                      <a:gd name="T57" fmla="*/ 22 h 390"/>
                      <a:gd name="T58" fmla="*/ 502 w 526"/>
                      <a:gd name="T59" fmla="*/ 0 h 390"/>
                      <a:gd name="T60" fmla="*/ 455 w 526"/>
                      <a:gd name="T61" fmla="*/ 14 h 390"/>
                      <a:gd name="T62" fmla="*/ 424 w 526"/>
                      <a:gd name="T63" fmla="*/ 28 h 390"/>
                      <a:gd name="T64" fmla="*/ 391 w 526"/>
                      <a:gd name="T65" fmla="*/ 36 h 390"/>
                      <a:gd name="T66" fmla="*/ 350 w 526"/>
                      <a:gd name="T67" fmla="*/ 59 h 390"/>
                      <a:gd name="T68" fmla="*/ 315 w 526"/>
                      <a:gd name="T69" fmla="*/ 73 h 390"/>
                      <a:gd name="T70" fmla="*/ 278 w 526"/>
                      <a:gd name="T71" fmla="*/ 92 h 390"/>
                      <a:gd name="T72" fmla="*/ 253 w 526"/>
                      <a:gd name="T73" fmla="*/ 120 h 390"/>
                      <a:gd name="T74" fmla="*/ 231 w 526"/>
                      <a:gd name="T75" fmla="*/ 140 h 390"/>
                      <a:gd name="T76" fmla="*/ 189 w 526"/>
                      <a:gd name="T77" fmla="*/ 174 h 390"/>
                      <a:gd name="T78" fmla="*/ 146 w 526"/>
                      <a:gd name="T79" fmla="*/ 215 h 390"/>
                      <a:gd name="T80" fmla="*/ 109 w 526"/>
                      <a:gd name="T81" fmla="*/ 246 h 390"/>
                      <a:gd name="T82" fmla="*/ 80 w 526"/>
                      <a:gd name="T83" fmla="*/ 288 h 390"/>
                      <a:gd name="T84" fmla="*/ 49 w 526"/>
                      <a:gd name="T85" fmla="*/ 316 h 390"/>
                      <a:gd name="T86" fmla="*/ 0 w 526"/>
                      <a:gd name="T87" fmla="*/ 389 h 3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526" h="390">
                        <a:moveTo>
                          <a:pt x="0" y="389"/>
                        </a:moveTo>
                        <a:lnTo>
                          <a:pt x="33" y="381"/>
                        </a:lnTo>
                        <a:lnTo>
                          <a:pt x="45" y="364"/>
                        </a:lnTo>
                        <a:lnTo>
                          <a:pt x="53" y="353"/>
                        </a:lnTo>
                        <a:lnTo>
                          <a:pt x="56" y="344"/>
                        </a:lnTo>
                        <a:lnTo>
                          <a:pt x="64" y="344"/>
                        </a:lnTo>
                        <a:lnTo>
                          <a:pt x="72" y="336"/>
                        </a:lnTo>
                        <a:lnTo>
                          <a:pt x="82" y="336"/>
                        </a:lnTo>
                        <a:lnTo>
                          <a:pt x="88" y="336"/>
                        </a:lnTo>
                        <a:lnTo>
                          <a:pt x="95" y="336"/>
                        </a:lnTo>
                        <a:lnTo>
                          <a:pt x="99" y="336"/>
                        </a:lnTo>
                        <a:lnTo>
                          <a:pt x="107" y="325"/>
                        </a:lnTo>
                        <a:lnTo>
                          <a:pt x="111" y="316"/>
                        </a:lnTo>
                        <a:lnTo>
                          <a:pt x="121" y="308"/>
                        </a:lnTo>
                        <a:lnTo>
                          <a:pt x="128" y="305"/>
                        </a:lnTo>
                        <a:lnTo>
                          <a:pt x="134" y="299"/>
                        </a:lnTo>
                        <a:lnTo>
                          <a:pt x="142" y="297"/>
                        </a:lnTo>
                        <a:lnTo>
                          <a:pt x="148" y="291"/>
                        </a:lnTo>
                        <a:lnTo>
                          <a:pt x="156" y="285"/>
                        </a:lnTo>
                        <a:lnTo>
                          <a:pt x="163" y="280"/>
                        </a:lnTo>
                        <a:lnTo>
                          <a:pt x="173" y="271"/>
                        </a:lnTo>
                        <a:lnTo>
                          <a:pt x="183" y="274"/>
                        </a:lnTo>
                        <a:lnTo>
                          <a:pt x="198" y="280"/>
                        </a:lnTo>
                        <a:lnTo>
                          <a:pt x="214" y="280"/>
                        </a:lnTo>
                        <a:lnTo>
                          <a:pt x="231" y="271"/>
                        </a:lnTo>
                        <a:lnTo>
                          <a:pt x="239" y="269"/>
                        </a:lnTo>
                        <a:lnTo>
                          <a:pt x="245" y="252"/>
                        </a:lnTo>
                        <a:lnTo>
                          <a:pt x="253" y="241"/>
                        </a:lnTo>
                        <a:lnTo>
                          <a:pt x="266" y="227"/>
                        </a:lnTo>
                        <a:lnTo>
                          <a:pt x="270" y="218"/>
                        </a:lnTo>
                        <a:lnTo>
                          <a:pt x="270" y="207"/>
                        </a:lnTo>
                        <a:lnTo>
                          <a:pt x="282" y="199"/>
                        </a:lnTo>
                        <a:lnTo>
                          <a:pt x="288" y="190"/>
                        </a:lnTo>
                        <a:lnTo>
                          <a:pt x="292" y="182"/>
                        </a:lnTo>
                        <a:lnTo>
                          <a:pt x="296" y="182"/>
                        </a:lnTo>
                        <a:lnTo>
                          <a:pt x="315" y="165"/>
                        </a:lnTo>
                        <a:lnTo>
                          <a:pt x="315" y="182"/>
                        </a:lnTo>
                        <a:lnTo>
                          <a:pt x="311" y="188"/>
                        </a:lnTo>
                        <a:lnTo>
                          <a:pt x="315" y="196"/>
                        </a:lnTo>
                        <a:lnTo>
                          <a:pt x="329" y="199"/>
                        </a:lnTo>
                        <a:lnTo>
                          <a:pt x="336" y="199"/>
                        </a:lnTo>
                        <a:lnTo>
                          <a:pt x="344" y="190"/>
                        </a:lnTo>
                        <a:lnTo>
                          <a:pt x="350" y="182"/>
                        </a:lnTo>
                        <a:lnTo>
                          <a:pt x="350" y="174"/>
                        </a:lnTo>
                        <a:lnTo>
                          <a:pt x="356" y="165"/>
                        </a:lnTo>
                        <a:lnTo>
                          <a:pt x="356" y="157"/>
                        </a:lnTo>
                        <a:lnTo>
                          <a:pt x="362" y="146"/>
                        </a:lnTo>
                        <a:lnTo>
                          <a:pt x="366" y="140"/>
                        </a:lnTo>
                        <a:lnTo>
                          <a:pt x="375" y="140"/>
                        </a:lnTo>
                        <a:lnTo>
                          <a:pt x="395" y="140"/>
                        </a:lnTo>
                        <a:lnTo>
                          <a:pt x="410" y="129"/>
                        </a:lnTo>
                        <a:lnTo>
                          <a:pt x="424" y="112"/>
                        </a:lnTo>
                        <a:lnTo>
                          <a:pt x="439" y="106"/>
                        </a:lnTo>
                        <a:lnTo>
                          <a:pt x="453" y="92"/>
                        </a:lnTo>
                        <a:lnTo>
                          <a:pt x="463" y="70"/>
                        </a:lnTo>
                        <a:lnTo>
                          <a:pt x="484" y="45"/>
                        </a:lnTo>
                        <a:lnTo>
                          <a:pt x="498" y="34"/>
                        </a:lnTo>
                        <a:lnTo>
                          <a:pt x="511" y="22"/>
                        </a:lnTo>
                        <a:lnTo>
                          <a:pt x="525" y="8"/>
                        </a:lnTo>
                        <a:lnTo>
                          <a:pt x="502" y="0"/>
                        </a:lnTo>
                        <a:lnTo>
                          <a:pt x="478" y="0"/>
                        </a:lnTo>
                        <a:lnTo>
                          <a:pt x="455" y="14"/>
                        </a:lnTo>
                        <a:lnTo>
                          <a:pt x="443" y="22"/>
                        </a:lnTo>
                        <a:lnTo>
                          <a:pt x="424" y="28"/>
                        </a:lnTo>
                        <a:lnTo>
                          <a:pt x="403" y="31"/>
                        </a:lnTo>
                        <a:lnTo>
                          <a:pt x="391" y="36"/>
                        </a:lnTo>
                        <a:lnTo>
                          <a:pt x="366" y="50"/>
                        </a:lnTo>
                        <a:lnTo>
                          <a:pt x="350" y="59"/>
                        </a:lnTo>
                        <a:lnTo>
                          <a:pt x="334" y="67"/>
                        </a:lnTo>
                        <a:lnTo>
                          <a:pt x="315" y="73"/>
                        </a:lnTo>
                        <a:lnTo>
                          <a:pt x="296" y="81"/>
                        </a:lnTo>
                        <a:lnTo>
                          <a:pt x="278" y="92"/>
                        </a:lnTo>
                        <a:lnTo>
                          <a:pt x="264" y="106"/>
                        </a:lnTo>
                        <a:lnTo>
                          <a:pt x="253" y="120"/>
                        </a:lnTo>
                        <a:lnTo>
                          <a:pt x="241" y="132"/>
                        </a:lnTo>
                        <a:lnTo>
                          <a:pt x="231" y="140"/>
                        </a:lnTo>
                        <a:lnTo>
                          <a:pt x="210" y="157"/>
                        </a:lnTo>
                        <a:lnTo>
                          <a:pt x="189" y="174"/>
                        </a:lnTo>
                        <a:lnTo>
                          <a:pt x="163" y="190"/>
                        </a:lnTo>
                        <a:lnTo>
                          <a:pt x="146" y="215"/>
                        </a:lnTo>
                        <a:lnTo>
                          <a:pt x="126" y="235"/>
                        </a:lnTo>
                        <a:lnTo>
                          <a:pt x="109" y="246"/>
                        </a:lnTo>
                        <a:lnTo>
                          <a:pt x="91" y="271"/>
                        </a:lnTo>
                        <a:lnTo>
                          <a:pt x="80" y="288"/>
                        </a:lnTo>
                        <a:lnTo>
                          <a:pt x="64" y="305"/>
                        </a:lnTo>
                        <a:lnTo>
                          <a:pt x="49" y="316"/>
                        </a:lnTo>
                        <a:lnTo>
                          <a:pt x="33" y="327"/>
                        </a:lnTo>
                        <a:lnTo>
                          <a:pt x="0" y="389"/>
                        </a:lnTo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</p:grpSp>
            <p:sp>
              <p:nvSpPr>
                <p:cNvPr id="1055" name="Freeform 31"/>
                <p:cNvSpPr>
                  <a:spLocks/>
                </p:cNvSpPr>
                <p:nvPr/>
              </p:nvSpPr>
              <p:spPr bwMode="auto">
                <a:xfrm>
                  <a:off x="3324" y="2815"/>
                  <a:ext cx="158" cy="378"/>
                </a:xfrm>
                <a:custGeom>
                  <a:avLst/>
                  <a:gdLst>
                    <a:gd name="T0" fmla="*/ 29 w 158"/>
                    <a:gd name="T1" fmla="*/ 117 h 378"/>
                    <a:gd name="T2" fmla="*/ 26 w 158"/>
                    <a:gd name="T3" fmla="*/ 193 h 378"/>
                    <a:gd name="T4" fmla="*/ 12 w 158"/>
                    <a:gd name="T5" fmla="*/ 240 h 378"/>
                    <a:gd name="T6" fmla="*/ 0 w 158"/>
                    <a:gd name="T7" fmla="*/ 285 h 378"/>
                    <a:gd name="T8" fmla="*/ 0 w 158"/>
                    <a:gd name="T9" fmla="*/ 318 h 378"/>
                    <a:gd name="T10" fmla="*/ 4 w 158"/>
                    <a:gd name="T11" fmla="*/ 346 h 378"/>
                    <a:gd name="T12" fmla="*/ 18 w 158"/>
                    <a:gd name="T13" fmla="*/ 371 h 378"/>
                    <a:gd name="T14" fmla="*/ 29 w 158"/>
                    <a:gd name="T15" fmla="*/ 374 h 378"/>
                    <a:gd name="T16" fmla="*/ 39 w 158"/>
                    <a:gd name="T17" fmla="*/ 374 h 378"/>
                    <a:gd name="T18" fmla="*/ 51 w 158"/>
                    <a:gd name="T19" fmla="*/ 377 h 378"/>
                    <a:gd name="T20" fmla="*/ 57 w 158"/>
                    <a:gd name="T21" fmla="*/ 357 h 378"/>
                    <a:gd name="T22" fmla="*/ 63 w 158"/>
                    <a:gd name="T23" fmla="*/ 307 h 378"/>
                    <a:gd name="T24" fmla="*/ 80 w 158"/>
                    <a:gd name="T25" fmla="*/ 274 h 378"/>
                    <a:gd name="T26" fmla="*/ 84 w 158"/>
                    <a:gd name="T27" fmla="*/ 223 h 378"/>
                    <a:gd name="T28" fmla="*/ 92 w 158"/>
                    <a:gd name="T29" fmla="*/ 204 h 378"/>
                    <a:gd name="T30" fmla="*/ 100 w 158"/>
                    <a:gd name="T31" fmla="*/ 190 h 378"/>
                    <a:gd name="T32" fmla="*/ 106 w 158"/>
                    <a:gd name="T33" fmla="*/ 154 h 378"/>
                    <a:gd name="T34" fmla="*/ 118 w 158"/>
                    <a:gd name="T35" fmla="*/ 131 h 378"/>
                    <a:gd name="T36" fmla="*/ 126 w 158"/>
                    <a:gd name="T37" fmla="*/ 114 h 378"/>
                    <a:gd name="T38" fmla="*/ 133 w 158"/>
                    <a:gd name="T39" fmla="*/ 101 h 378"/>
                    <a:gd name="T40" fmla="*/ 133 w 158"/>
                    <a:gd name="T41" fmla="*/ 92 h 378"/>
                    <a:gd name="T42" fmla="*/ 151 w 158"/>
                    <a:gd name="T43" fmla="*/ 73 h 378"/>
                    <a:gd name="T44" fmla="*/ 153 w 158"/>
                    <a:gd name="T45" fmla="*/ 42 h 378"/>
                    <a:gd name="T46" fmla="*/ 157 w 158"/>
                    <a:gd name="T47" fmla="*/ 22 h 378"/>
                    <a:gd name="T48" fmla="*/ 141 w 158"/>
                    <a:gd name="T49" fmla="*/ 14 h 378"/>
                    <a:gd name="T50" fmla="*/ 131 w 158"/>
                    <a:gd name="T51" fmla="*/ 0 h 378"/>
                    <a:gd name="T52" fmla="*/ 118 w 158"/>
                    <a:gd name="T53" fmla="*/ 14 h 378"/>
                    <a:gd name="T54" fmla="*/ 106 w 158"/>
                    <a:gd name="T55" fmla="*/ 47 h 378"/>
                    <a:gd name="T56" fmla="*/ 92 w 158"/>
                    <a:gd name="T57" fmla="*/ 70 h 378"/>
                    <a:gd name="T58" fmla="*/ 80 w 158"/>
                    <a:gd name="T59" fmla="*/ 89 h 378"/>
                    <a:gd name="T60" fmla="*/ 75 w 158"/>
                    <a:gd name="T61" fmla="*/ 89 h 378"/>
                    <a:gd name="T62" fmla="*/ 63 w 158"/>
                    <a:gd name="T63" fmla="*/ 101 h 378"/>
                    <a:gd name="T64" fmla="*/ 57 w 158"/>
                    <a:gd name="T65" fmla="*/ 112 h 378"/>
                    <a:gd name="T66" fmla="*/ 29 w 158"/>
                    <a:gd name="T67" fmla="*/ 117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58" h="378">
                      <a:moveTo>
                        <a:pt x="29" y="117"/>
                      </a:moveTo>
                      <a:lnTo>
                        <a:pt x="26" y="193"/>
                      </a:lnTo>
                      <a:lnTo>
                        <a:pt x="12" y="240"/>
                      </a:lnTo>
                      <a:lnTo>
                        <a:pt x="0" y="285"/>
                      </a:lnTo>
                      <a:lnTo>
                        <a:pt x="0" y="318"/>
                      </a:lnTo>
                      <a:lnTo>
                        <a:pt x="4" y="346"/>
                      </a:lnTo>
                      <a:lnTo>
                        <a:pt x="18" y="371"/>
                      </a:lnTo>
                      <a:lnTo>
                        <a:pt x="29" y="374"/>
                      </a:lnTo>
                      <a:lnTo>
                        <a:pt x="39" y="374"/>
                      </a:lnTo>
                      <a:lnTo>
                        <a:pt x="51" y="377"/>
                      </a:lnTo>
                      <a:lnTo>
                        <a:pt x="57" y="357"/>
                      </a:lnTo>
                      <a:lnTo>
                        <a:pt x="63" y="307"/>
                      </a:lnTo>
                      <a:lnTo>
                        <a:pt x="80" y="274"/>
                      </a:lnTo>
                      <a:lnTo>
                        <a:pt x="84" y="223"/>
                      </a:lnTo>
                      <a:lnTo>
                        <a:pt x="92" y="204"/>
                      </a:lnTo>
                      <a:lnTo>
                        <a:pt x="100" y="190"/>
                      </a:lnTo>
                      <a:lnTo>
                        <a:pt x="106" y="154"/>
                      </a:lnTo>
                      <a:lnTo>
                        <a:pt x="118" y="131"/>
                      </a:lnTo>
                      <a:lnTo>
                        <a:pt x="126" y="114"/>
                      </a:lnTo>
                      <a:lnTo>
                        <a:pt x="133" y="101"/>
                      </a:lnTo>
                      <a:lnTo>
                        <a:pt x="133" y="92"/>
                      </a:lnTo>
                      <a:lnTo>
                        <a:pt x="151" y="73"/>
                      </a:lnTo>
                      <a:lnTo>
                        <a:pt x="153" y="42"/>
                      </a:lnTo>
                      <a:lnTo>
                        <a:pt x="157" y="22"/>
                      </a:lnTo>
                      <a:lnTo>
                        <a:pt x="141" y="14"/>
                      </a:lnTo>
                      <a:lnTo>
                        <a:pt x="131" y="0"/>
                      </a:lnTo>
                      <a:lnTo>
                        <a:pt x="118" y="14"/>
                      </a:lnTo>
                      <a:lnTo>
                        <a:pt x="106" y="47"/>
                      </a:lnTo>
                      <a:lnTo>
                        <a:pt x="92" y="70"/>
                      </a:lnTo>
                      <a:lnTo>
                        <a:pt x="80" y="89"/>
                      </a:lnTo>
                      <a:lnTo>
                        <a:pt x="75" y="89"/>
                      </a:lnTo>
                      <a:lnTo>
                        <a:pt x="63" y="101"/>
                      </a:lnTo>
                      <a:lnTo>
                        <a:pt x="57" y="112"/>
                      </a:lnTo>
                      <a:lnTo>
                        <a:pt x="29" y="117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1056" name="Freeform 32"/>
                <p:cNvSpPr>
                  <a:spLocks/>
                </p:cNvSpPr>
                <p:nvPr/>
              </p:nvSpPr>
              <p:spPr bwMode="auto">
                <a:xfrm>
                  <a:off x="2575" y="655"/>
                  <a:ext cx="2126" cy="1789"/>
                </a:xfrm>
                <a:custGeom>
                  <a:avLst/>
                  <a:gdLst>
                    <a:gd name="T0" fmla="*/ 124 w 2126"/>
                    <a:gd name="T1" fmla="*/ 750 h 1789"/>
                    <a:gd name="T2" fmla="*/ 142 w 2126"/>
                    <a:gd name="T3" fmla="*/ 619 h 1789"/>
                    <a:gd name="T4" fmla="*/ 214 w 2126"/>
                    <a:gd name="T5" fmla="*/ 544 h 1789"/>
                    <a:gd name="T6" fmla="*/ 296 w 2126"/>
                    <a:gd name="T7" fmla="*/ 508 h 1789"/>
                    <a:gd name="T8" fmla="*/ 319 w 2126"/>
                    <a:gd name="T9" fmla="*/ 432 h 1789"/>
                    <a:gd name="T10" fmla="*/ 424 w 2126"/>
                    <a:gd name="T11" fmla="*/ 365 h 1789"/>
                    <a:gd name="T12" fmla="*/ 492 w 2126"/>
                    <a:gd name="T13" fmla="*/ 271 h 1789"/>
                    <a:gd name="T14" fmla="*/ 461 w 2126"/>
                    <a:gd name="T15" fmla="*/ 223 h 1789"/>
                    <a:gd name="T16" fmla="*/ 467 w 2126"/>
                    <a:gd name="T17" fmla="*/ 179 h 1789"/>
                    <a:gd name="T18" fmla="*/ 399 w 2126"/>
                    <a:gd name="T19" fmla="*/ 243 h 1789"/>
                    <a:gd name="T20" fmla="*/ 377 w 2126"/>
                    <a:gd name="T21" fmla="*/ 371 h 1789"/>
                    <a:gd name="T22" fmla="*/ 331 w 2126"/>
                    <a:gd name="T23" fmla="*/ 410 h 1789"/>
                    <a:gd name="T24" fmla="*/ 307 w 2126"/>
                    <a:gd name="T25" fmla="*/ 343 h 1789"/>
                    <a:gd name="T26" fmla="*/ 243 w 2126"/>
                    <a:gd name="T27" fmla="*/ 374 h 1789"/>
                    <a:gd name="T28" fmla="*/ 226 w 2126"/>
                    <a:gd name="T29" fmla="*/ 324 h 1789"/>
                    <a:gd name="T30" fmla="*/ 227 w 2126"/>
                    <a:gd name="T31" fmla="*/ 273 h 1789"/>
                    <a:gd name="T32" fmla="*/ 296 w 2126"/>
                    <a:gd name="T33" fmla="*/ 240 h 1789"/>
                    <a:gd name="T34" fmla="*/ 340 w 2126"/>
                    <a:gd name="T35" fmla="*/ 153 h 1789"/>
                    <a:gd name="T36" fmla="*/ 412 w 2126"/>
                    <a:gd name="T37" fmla="*/ 53 h 1789"/>
                    <a:gd name="T38" fmla="*/ 511 w 2126"/>
                    <a:gd name="T39" fmla="*/ 25 h 1789"/>
                    <a:gd name="T40" fmla="*/ 642 w 2126"/>
                    <a:gd name="T41" fmla="*/ 103 h 1789"/>
                    <a:gd name="T42" fmla="*/ 595 w 2126"/>
                    <a:gd name="T43" fmla="*/ 223 h 1789"/>
                    <a:gd name="T44" fmla="*/ 642 w 2126"/>
                    <a:gd name="T45" fmla="*/ 285 h 1789"/>
                    <a:gd name="T46" fmla="*/ 682 w 2126"/>
                    <a:gd name="T47" fmla="*/ 215 h 1789"/>
                    <a:gd name="T48" fmla="*/ 859 w 2126"/>
                    <a:gd name="T49" fmla="*/ 187 h 1789"/>
                    <a:gd name="T50" fmla="*/ 1073 w 2126"/>
                    <a:gd name="T51" fmla="*/ 33 h 1789"/>
                    <a:gd name="T52" fmla="*/ 1406 w 2126"/>
                    <a:gd name="T53" fmla="*/ 103 h 1789"/>
                    <a:gd name="T54" fmla="*/ 2004 w 2126"/>
                    <a:gd name="T55" fmla="*/ 226 h 1789"/>
                    <a:gd name="T56" fmla="*/ 2057 w 2126"/>
                    <a:gd name="T57" fmla="*/ 298 h 1789"/>
                    <a:gd name="T58" fmla="*/ 2076 w 2126"/>
                    <a:gd name="T59" fmla="*/ 541 h 1789"/>
                    <a:gd name="T60" fmla="*/ 1901 w 2126"/>
                    <a:gd name="T61" fmla="*/ 346 h 1789"/>
                    <a:gd name="T62" fmla="*/ 1763 w 2126"/>
                    <a:gd name="T63" fmla="*/ 435 h 1789"/>
                    <a:gd name="T64" fmla="*/ 1954 w 2126"/>
                    <a:gd name="T65" fmla="*/ 775 h 1789"/>
                    <a:gd name="T66" fmla="*/ 1876 w 2126"/>
                    <a:gd name="T67" fmla="*/ 920 h 1789"/>
                    <a:gd name="T68" fmla="*/ 2003 w 2126"/>
                    <a:gd name="T69" fmla="*/ 1252 h 1789"/>
                    <a:gd name="T70" fmla="*/ 1874 w 2126"/>
                    <a:gd name="T71" fmla="*/ 1425 h 1789"/>
                    <a:gd name="T72" fmla="*/ 1841 w 2126"/>
                    <a:gd name="T73" fmla="*/ 1559 h 1789"/>
                    <a:gd name="T74" fmla="*/ 1833 w 2126"/>
                    <a:gd name="T75" fmla="*/ 1690 h 1789"/>
                    <a:gd name="T76" fmla="*/ 1789 w 2126"/>
                    <a:gd name="T77" fmla="*/ 1685 h 1789"/>
                    <a:gd name="T78" fmla="*/ 1658 w 2126"/>
                    <a:gd name="T79" fmla="*/ 1411 h 1789"/>
                    <a:gd name="T80" fmla="*/ 1472 w 2126"/>
                    <a:gd name="T81" fmla="*/ 1403 h 1789"/>
                    <a:gd name="T82" fmla="*/ 1359 w 2126"/>
                    <a:gd name="T83" fmla="*/ 1562 h 1789"/>
                    <a:gd name="T84" fmla="*/ 1128 w 2126"/>
                    <a:gd name="T85" fmla="*/ 1213 h 1789"/>
                    <a:gd name="T86" fmla="*/ 822 w 2126"/>
                    <a:gd name="T87" fmla="*/ 1091 h 1789"/>
                    <a:gd name="T88" fmla="*/ 1054 w 2126"/>
                    <a:gd name="T89" fmla="*/ 1308 h 1789"/>
                    <a:gd name="T90" fmla="*/ 784 w 2126"/>
                    <a:gd name="T91" fmla="*/ 1503 h 1789"/>
                    <a:gd name="T92" fmla="*/ 714 w 2126"/>
                    <a:gd name="T93" fmla="*/ 1319 h 1789"/>
                    <a:gd name="T94" fmla="*/ 601 w 2126"/>
                    <a:gd name="T95" fmla="*/ 1105 h 1789"/>
                    <a:gd name="T96" fmla="*/ 537 w 2126"/>
                    <a:gd name="T97" fmla="*/ 946 h 1789"/>
                    <a:gd name="T98" fmla="*/ 505 w 2126"/>
                    <a:gd name="T99" fmla="*/ 873 h 1789"/>
                    <a:gd name="T100" fmla="*/ 465 w 2126"/>
                    <a:gd name="T101" fmla="*/ 831 h 1789"/>
                    <a:gd name="T102" fmla="*/ 449 w 2126"/>
                    <a:gd name="T103" fmla="*/ 909 h 1789"/>
                    <a:gd name="T104" fmla="*/ 393 w 2126"/>
                    <a:gd name="T105" fmla="*/ 787 h 1789"/>
                    <a:gd name="T106" fmla="*/ 329 w 2126"/>
                    <a:gd name="T107" fmla="*/ 742 h 1789"/>
                    <a:gd name="T108" fmla="*/ 397 w 2126"/>
                    <a:gd name="T109" fmla="*/ 848 h 1789"/>
                    <a:gd name="T110" fmla="*/ 367 w 2126"/>
                    <a:gd name="T111" fmla="*/ 873 h 1789"/>
                    <a:gd name="T112" fmla="*/ 313 w 2126"/>
                    <a:gd name="T113" fmla="*/ 803 h 1789"/>
                    <a:gd name="T114" fmla="*/ 251 w 2126"/>
                    <a:gd name="T115" fmla="*/ 753 h 1789"/>
                    <a:gd name="T116" fmla="*/ 169 w 2126"/>
                    <a:gd name="T117" fmla="*/ 817 h 1789"/>
                    <a:gd name="T118" fmla="*/ 152 w 2126"/>
                    <a:gd name="T119" fmla="*/ 890 h 1789"/>
                    <a:gd name="T120" fmla="*/ 95 w 2126"/>
                    <a:gd name="T121" fmla="*/ 943 h 1789"/>
                    <a:gd name="T122" fmla="*/ 12 w 2126"/>
                    <a:gd name="T123" fmla="*/ 909 h 17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126" h="1789">
                      <a:moveTo>
                        <a:pt x="0" y="803"/>
                      </a:moveTo>
                      <a:lnTo>
                        <a:pt x="19" y="778"/>
                      </a:lnTo>
                      <a:lnTo>
                        <a:pt x="31" y="759"/>
                      </a:lnTo>
                      <a:lnTo>
                        <a:pt x="56" y="759"/>
                      </a:lnTo>
                      <a:lnTo>
                        <a:pt x="84" y="764"/>
                      </a:lnTo>
                      <a:lnTo>
                        <a:pt x="103" y="753"/>
                      </a:lnTo>
                      <a:lnTo>
                        <a:pt x="124" y="750"/>
                      </a:lnTo>
                      <a:lnTo>
                        <a:pt x="126" y="717"/>
                      </a:lnTo>
                      <a:lnTo>
                        <a:pt x="138" y="695"/>
                      </a:lnTo>
                      <a:lnTo>
                        <a:pt x="109" y="669"/>
                      </a:lnTo>
                      <a:lnTo>
                        <a:pt x="105" y="650"/>
                      </a:lnTo>
                      <a:lnTo>
                        <a:pt x="107" y="622"/>
                      </a:lnTo>
                      <a:lnTo>
                        <a:pt x="128" y="622"/>
                      </a:lnTo>
                      <a:lnTo>
                        <a:pt x="142" y="619"/>
                      </a:lnTo>
                      <a:lnTo>
                        <a:pt x="144" y="622"/>
                      </a:lnTo>
                      <a:lnTo>
                        <a:pt x="159" y="605"/>
                      </a:lnTo>
                      <a:lnTo>
                        <a:pt x="175" y="597"/>
                      </a:lnTo>
                      <a:lnTo>
                        <a:pt x="181" y="597"/>
                      </a:lnTo>
                      <a:lnTo>
                        <a:pt x="191" y="580"/>
                      </a:lnTo>
                      <a:lnTo>
                        <a:pt x="202" y="575"/>
                      </a:lnTo>
                      <a:lnTo>
                        <a:pt x="214" y="544"/>
                      </a:lnTo>
                      <a:lnTo>
                        <a:pt x="222" y="552"/>
                      </a:lnTo>
                      <a:lnTo>
                        <a:pt x="237" y="533"/>
                      </a:lnTo>
                      <a:lnTo>
                        <a:pt x="239" y="533"/>
                      </a:lnTo>
                      <a:lnTo>
                        <a:pt x="259" y="510"/>
                      </a:lnTo>
                      <a:lnTo>
                        <a:pt x="270" y="508"/>
                      </a:lnTo>
                      <a:lnTo>
                        <a:pt x="286" y="508"/>
                      </a:lnTo>
                      <a:lnTo>
                        <a:pt x="296" y="508"/>
                      </a:lnTo>
                      <a:lnTo>
                        <a:pt x="288" y="480"/>
                      </a:lnTo>
                      <a:lnTo>
                        <a:pt x="284" y="457"/>
                      </a:lnTo>
                      <a:lnTo>
                        <a:pt x="280" y="410"/>
                      </a:lnTo>
                      <a:lnTo>
                        <a:pt x="303" y="407"/>
                      </a:lnTo>
                      <a:lnTo>
                        <a:pt x="315" y="399"/>
                      </a:lnTo>
                      <a:lnTo>
                        <a:pt x="309" y="418"/>
                      </a:lnTo>
                      <a:lnTo>
                        <a:pt x="319" y="432"/>
                      </a:lnTo>
                      <a:lnTo>
                        <a:pt x="329" y="449"/>
                      </a:lnTo>
                      <a:lnTo>
                        <a:pt x="334" y="460"/>
                      </a:lnTo>
                      <a:lnTo>
                        <a:pt x="362" y="457"/>
                      </a:lnTo>
                      <a:lnTo>
                        <a:pt x="385" y="416"/>
                      </a:lnTo>
                      <a:lnTo>
                        <a:pt x="402" y="396"/>
                      </a:lnTo>
                      <a:lnTo>
                        <a:pt x="412" y="382"/>
                      </a:lnTo>
                      <a:lnTo>
                        <a:pt x="424" y="365"/>
                      </a:lnTo>
                      <a:lnTo>
                        <a:pt x="435" y="343"/>
                      </a:lnTo>
                      <a:lnTo>
                        <a:pt x="445" y="351"/>
                      </a:lnTo>
                      <a:lnTo>
                        <a:pt x="445" y="338"/>
                      </a:lnTo>
                      <a:lnTo>
                        <a:pt x="451" y="329"/>
                      </a:lnTo>
                      <a:lnTo>
                        <a:pt x="469" y="335"/>
                      </a:lnTo>
                      <a:lnTo>
                        <a:pt x="498" y="371"/>
                      </a:lnTo>
                      <a:lnTo>
                        <a:pt x="492" y="271"/>
                      </a:lnTo>
                      <a:lnTo>
                        <a:pt x="467" y="315"/>
                      </a:lnTo>
                      <a:lnTo>
                        <a:pt x="447" y="312"/>
                      </a:lnTo>
                      <a:lnTo>
                        <a:pt x="441" y="285"/>
                      </a:lnTo>
                      <a:lnTo>
                        <a:pt x="441" y="271"/>
                      </a:lnTo>
                      <a:lnTo>
                        <a:pt x="435" y="262"/>
                      </a:lnTo>
                      <a:lnTo>
                        <a:pt x="451" y="240"/>
                      </a:lnTo>
                      <a:lnTo>
                        <a:pt x="461" y="223"/>
                      </a:lnTo>
                      <a:lnTo>
                        <a:pt x="470" y="218"/>
                      </a:lnTo>
                      <a:lnTo>
                        <a:pt x="478" y="215"/>
                      </a:lnTo>
                      <a:lnTo>
                        <a:pt x="484" y="201"/>
                      </a:lnTo>
                      <a:lnTo>
                        <a:pt x="492" y="198"/>
                      </a:lnTo>
                      <a:lnTo>
                        <a:pt x="502" y="198"/>
                      </a:lnTo>
                      <a:lnTo>
                        <a:pt x="484" y="173"/>
                      </a:lnTo>
                      <a:lnTo>
                        <a:pt x="467" y="179"/>
                      </a:lnTo>
                      <a:lnTo>
                        <a:pt x="455" y="179"/>
                      </a:lnTo>
                      <a:lnTo>
                        <a:pt x="445" y="170"/>
                      </a:lnTo>
                      <a:lnTo>
                        <a:pt x="445" y="187"/>
                      </a:lnTo>
                      <a:lnTo>
                        <a:pt x="435" y="204"/>
                      </a:lnTo>
                      <a:lnTo>
                        <a:pt x="422" y="232"/>
                      </a:lnTo>
                      <a:lnTo>
                        <a:pt x="408" y="243"/>
                      </a:lnTo>
                      <a:lnTo>
                        <a:pt x="399" y="243"/>
                      </a:lnTo>
                      <a:lnTo>
                        <a:pt x="395" y="262"/>
                      </a:lnTo>
                      <a:lnTo>
                        <a:pt x="395" y="271"/>
                      </a:lnTo>
                      <a:lnTo>
                        <a:pt x="387" y="279"/>
                      </a:lnTo>
                      <a:lnTo>
                        <a:pt x="397" y="312"/>
                      </a:lnTo>
                      <a:lnTo>
                        <a:pt x="402" y="329"/>
                      </a:lnTo>
                      <a:lnTo>
                        <a:pt x="391" y="354"/>
                      </a:lnTo>
                      <a:lnTo>
                        <a:pt x="377" y="371"/>
                      </a:lnTo>
                      <a:lnTo>
                        <a:pt x="373" y="396"/>
                      </a:lnTo>
                      <a:lnTo>
                        <a:pt x="366" y="416"/>
                      </a:lnTo>
                      <a:lnTo>
                        <a:pt x="358" y="416"/>
                      </a:lnTo>
                      <a:lnTo>
                        <a:pt x="346" y="418"/>
                      </a:lnTo>
                      <a:lnTo>
                        <a:pt x="334" y="427"/>
                      </a:lnTo>
                      <a:lnTo>
                        <a:pt x="331" y="424"/>
                      </a:lnTo>
                      <a:lnTo>
                        <a:pt x="331" y="410"/>
                      </a:lnTo>
                      <a:lnTo>
                        <a:pt x="329" y="388"/>
                      </a:lnTo>
                      <a:lnTo>
                        <a:pt x="319" y="388"/>
                      </a:lnTo>
                      <a:lnTo>
                        <a:pt x="313" y="374"/>
                      </a:lnTo>
                      <a:lnTo>
                        <a:pt x="315" y="354"/>
                      </a:lnTo>
                      <a:lnTo>
                        <a:pt x="317" y="343"/>
                      </a:lnTo>
                      <a:lnTo>
                        <a:pt x="315" y="338"/>
                      </a:lnTo>
                      <a:lnTo>
                        <a:pt x="307" y="343"/>
                      </a:lnTo>
                      <a:lnTo>
                        <a:pt x="303" y="343"/>
                      </a:lnTo>
                      <a:lnTo>
                        <a:pt x="297" y="340"/>
                      </a:lnTo>
                      <a:lnTo>
                        <a:pt x="294" y="338"/>
                      </a:lnTo>
                      <a:lnTo>
                        <a:pt x="284" y="349"/>
                      </a:lnTo>
                      <a:lnTo>
                        <a:pt x="274" y="363"/>
                      </a:lnTo>
                      <a:lnTo>
                        <a:pt x="264" y="377"/>
                      </a:lnTo>
                      <a:lnTo>
                        <a:pt x="243" y="374"/>
                      </a:lnTo>
                      <a:lnTo>
                        <a:pt x="229" y="371"/>
                      </a:lnTo>
                      <a:lnTo>
                        <a:pt x="220" y="357"/>
                      </a:lnTo>
                      <a:lnTo>
                        <a:pt x="220" y="349"/>
                      </a:lnTo>
                      <a:lnTo>
                        <a:pt x="226" y="338"/>
                      </a:lnTo>
                      <a:lnTo>
                        <a:pt x="233" y="329"/>
                      </a:lnTo>
                      <a:lnTo>
                        <a:pt x="239" y="318"/>
                      </a:lnTo>
                      <a:lnTo>
                        <a:pt x="226" y="324"/>
                      </a:lnTo>
                      <a:lnTo>
                        <a:pt x="220" y="310"/>
                      </a:lnTo>
                      <a:lnTo>
                        <a:pt x="220" y="301"/>
                      </a:lnTo>
                      <a:lnTo>
                        <a:pt x="239" y="298"/>
                      </a:lnTo>
                      <a:lnTo>
                        <a:pt x="257" y="296"/>
                      </a:lnTo>
                      <a:lnTo>
                        <a:pt x="245" y="287"/>
                      </a:lnTo>
                      <a:lnTo>
                        <a:pt x="227" y="290"/>
                      </a:lnTo>
                      <a:lnTo>
                        <a:pt x="227" y="273"/>
                      </a:lnTo>
                      <a:lnTo>
                        <a:pt x="235" y="262"/>
                      </a:lnTo>
                      <a:lnTo>
                        <a:pt x="253" y="251"/>
                      </a:lnTo>
                      <a:lnTo>
                        <a:pt x="259" y="240"/>
                      </a:lnTo>
                      <a:lnTo>
                        <a:pt x="264" y="234"/>
                      </a:lnTo>
                      <a:lnTo>
                        <a:pt x="278" y="232"/>
                      </a:lnTo>
                      <a:lnTo>
                        <a:pt x="290" y="234"/>
                      </a:lnTo>
                      <a:lnTo>
                        <a:pt x="296" y="240"/>
                      </a:lnTo>
                      <a:lnTo>
                        <a:pt x="305" y="232"/>
                      </a:lnTo>
                      <a:lnTo>
                        <a:pt x="296" y="229"/>
                      </a:lnTo>
                      <a:lnTo>
                        <a:pt x="296" y="206"/>
                      </a:lnTo>
                      <a:lnTo>
                        <a:pt x="321" y="181"/>
                      </a:lnTo>
                      <a:lnTo>
                        <a:pt x="334" y="165"/>
                      </a:lnTo>
                      <a:lnTo>
                        <a:pt x="342" y="162"/>
                      </a:lnTo>
                      <a:lnTo>
                        <a:pt x="340" y="153"/>
                      </a:lnTo>
                      <a:lnTo>
                        <a:pt x="352" y="137"/>
                      </a:lnTo>
                      <a:lnTo>
                        <a:pt x="366" y="112"/>
                      </a:lnTo>
                      <a:lnTo>
                        <a:pt x="381" y="100"/>
                      </a:lnTo>
                      <a:lnTo>
                        <a:pt x="369" y="89"/>
                      </a:lnTo>
                      <a:lnTo>
                        <a:pt x="401" y="64"/>
                      </a:lnTo>
                      <a:lnTo>
                        <a:pt x="414" y="67"/>
                      </a:lnTo>
                      <a:lnTo>
                        <a:pt x="412" y="53"/>
                      </a:lnTo>
                      <a:lnTo>
                        <a:pt x="439" y="50"/>
                      </a:lnTo>
                      <a:lnTo>
                        <a:pt x="490" y="6"/>
                      </a:lnTo>
                      <a:lnTo>
                        <a:pt x="498" y="0"/>
                      </a:lnTo>
                      <a:lnTo>
                        <a:pt x="488" y="33"/>
                      </a:lnTo>
                      <a:lnTo>
                        <a:pt x="500" y="17"/>
                      </a:lnTo>
                      <a:lnTo>
                        <a:pt x="513" y="11"/>
                      </a:lnTo>
                      <a:lnTo>
                        <a:pt x="511" y="25"/>
                      </a:lnTo>
                      <a:lnTo>
                        <a:pt x="550" y="8"/>
                      </a:lnTo>
                      <a:lnTo>
                        <a:pt x="568" y="22"/>
                      </a:lnTo>
                      <a:lnTo>
                        <a:pt x="542" y="36"/>
                      </a:lnTo>
                      <a:lnTo>
                        <a:pt x="552" y="53"/>
                      </a:lnTo>
                      <a:lnTo>
                        <a:pt x="589" y="50"/>
                      </a:lnTo>
                      <a:lnTo>
                        <a:pt x="645" y="75"/>
                      </a:lnTo>
                      <a:lnTo>
                        <a:pt x="642" y="103"/>
                      </a:lnTo>
                      <a:lnTo>
                        <a:pt x="618" y="128"/>
                      </a:lnTo>
                      <a:lnTo>
                        <a:pt x="583" y="142"/>
                      </a:lnTo>
                      <a:lnTo>
                        <a:pt x="577" y="170"/>
                      </a:lnTo>
                      <a:lnTo>
                        <a:pt x="579" y="198"/>
                      </a:lnTo>
                      <a:lnTo>
                        <a:pt x="589" y="204"/>
                      </a:lnTo>
                      <a:lnTo>
                        <a:pt x="591" y="218"/>
                      </a:lnTo>
                      <a:lnTo>
                        <a:pt x="595" y="223"/>
                      </a:lnTo>
                      <a:lnTo>
                        <a:pt x="603" y="229"/>
                      </a:lnTo>
                      <a:lnTo>
                        <a:pt x="605" y="245"/>
                      </a:lnTo>
                      <a:lnTo>
                        <a:pt x="616" y="265"/>
                      </a:lnTo>
                      <a:lnTo>
                        <a:pt x="616" y="273"/>
                      </a:lnTo>
                      <a:lnTo>
                        <a:pt x="628" y="273"/>
                      </a:lnTo>
                      <a:lnTo>
                        <a:pt x="632" y="279"/>
                      </a:lnTo>
                      <a:lnTo>
                        <a:pt x="642" y="285"/>
                      </a:lnTo>
                      <a:lnTo>
                        <a:pt x="647" y="276"/>
                      </a:lnTo>
                      <a:lnTo>
                        <a:pt x="653" y="262"/>
                      </a:lnTo>
                      <a:lnTo>
                        <a:pt x="657" y="254"/>
                      </a:lnTo>
                      <a:lnTo>
                        <a:pt x="667" y="259"/>
                      </a:lnTo>
                      <a:lnTo>
                        <a:pt x="679" y="240"/>
                      </a:lnTo>
                      <a:lnTo>
                        <a:pt x="679" y="226"/>
                      </a:lnTo>
                      <a:lnTo>
                        <a:pt x="682" y="215"/>
                      </a:lnTo>
                      <a:lnTo>
                        <a:pt x="684" y="206"/>
                      </a:lnTo>
                      <a:lnTo>
                        <a:pt x="708" y="198"/>
                      </a:lnTo>
                      <a:lnTo>
                        <a:pt x="727" y="190"/>
                      </a:lnTo>
                      <a:lnTo>
                        <a:pt x="752" y="179"/>
                      </a:lnTo>
                      <a:lnTo>
                        <a:pt x="782" y="187"/>
                      </a:lnTo>
                      <a:lnTo>
                        <a:pt x="811" y="187"/>
                      </a:lnTo>
                      <a:lnTo>
                        <a:pt x="859" y="187"/>
                      </a:lnTo>
                      <a:lnTo>
                        <a:pt x="867" y="120"/>
                      </a:lnTo>
                      <a:lnTo>
                        <a:pt x="894" y="123"/>
                      </a:lnTo>
                      <a:lnTo>
                        <a:pt x="914" y="173"/>
                      </a:lnTo>
                      <a:lnTo>
                        <a:pt x="918" y="131"/>
                      </a:lnTo>
                      <a:lnTo>
                        <a:pt x="1007" y="8"/>
                      </a:lnTo>
                      <a:lnTo>
                        <a:pt x="1042" y="8"/>
                      </a:lnTo>
                      <a:lnTo>
                        <a:pt x="1073" y="33"/>
                      </a:lnTo>
                      <a:lnTo>
                        <a:pt x="1114" y="31"/>
                      </a:lnTo>
                      <a:lnTo>
                        <a:pt x="1168" y="75"/>
                      </a:lnTo>
                      <a:lnTo>
                        <a:pt x="1231" y="100"/>
                      </a:lnTo>
                      <a:lnTo>
                        <a:pt x="1275" y="95"/>
                      </a:lnTo>
                      <a:lnTo>
                        <a:pt x="1334" y="123"/>
                      </a:lnTo>
                      <a:lnTo>
                        <a:pt x="1382" y="123"/>
                      </a:lnTo>
                      <a:lnTo>
                        <a:pt x="1406" y="103"/>
                      </a:lnTo>
                      <a:lnTo>
                        <a:pt x="1460" y="103"/>
                      </a:lnTo>
                      <a:lnTo>
                        <a:pt x="1489" y="126"/>
                      </a:lnTo>
                      <a:lnTo>
                        <a:pt x="1563" y="126"/>
                      </a:lnTo>
                      <a:lnTo>
                        <a:pt x="1625" y="162"/>
                      </a:lnTo>
                      <a:lnTo>
                        <a:pt x="1736" y="156"/>
                      </a:lnTo>
                      <a:lnTo>
                        <a:pt x="1917" y="173"/>
                      </a:lnTo>
                      <a:lnTo>
                        <a:pt x="2004" y="226"/>
                      </a:lnTo>
                      <a:lnTo>
                        <a:pt x="2078" y="259"/>
                      </a:lnTo>
                      <a:lnTo>
                        <a:pt x="2125" y="287"/>
                      </a:lnTo>
                      <a:lnTo>
                        <a:pt x="2111" y="296"/>
                      </a:lnTo>
                      <a:lnTo>
                        <a:pt x="2078" y="273"/>
                      </a:lnTo>
                      <a:lnTo>
                        <a:pt x="2003" y="265"/>
                      </a:lnTo>
                      <a:lnTo>
                        <a:pt x="2024" y="287"/>
                      </a:lnTo>
                      <a:lnTo>
                        <a:pt x="2057" y="298"/>
                      </a:lnTo>
                      <a:lnTo>
                        <a:pt x="2047" y="335"/>
                      </a:lnTo>
                      <a:lnTo>
                        <a:pt x="2012" y="357"/>
                      </a:lnTo>
                      <a:lnTo>
                        <a:pt x="2001" y="393"/>
                      </a:lnTo>
                      <a:lnTo>
                        <a:pt x="2047" y="427"/>
                      </a:lnTo>
                      <a:lnTo>
                        <a:pt x="2080" y="471"/>
                      </a:lnTo>
                      <a:lnTo>
                        <a:pt x="2098" y="536"/>
                      </a:lnTo>
                      <a:lnTo>
                        <a:pt x="2076" y="541"/>
                      </a:lnTo>
                      <a:lnTo>
                        <a:pt x="2030" y="522"/>
                      </a:lnTo>
                      <a:lnTo>
                        <a:pt x="1981" y="474"/>
                      </a:lnTo>
                      <a:lnTo>
                        <a:pt x="1962" y="449"/>
                      </a:lnTo>
                      <a:lnTo>
                        <a:pt x="1950" y="416"/>
                      </a:lnTo>
                      <a:lnTo>
                        <a:pt x="1938" y="365"/>
                      </a:lnTo>
                      <a:lnTo>
                        <a:pt x="1919" y="349"/>
                      </a:lnTo>
                      <a:lnTo>
                        <a:pt x="1901" y="346"/>
                      </a:lnTo>
                      <a:lnTo>
                        <a:pt x="1886" y="351"/>
                      </a:lnTo>
                      <a:lnTo>
                        <a:pt x="1903" y="391"/>
                      </a:lnTo>
                      <a:lnTo>
                        <a:pt x="1857" y="396"/>
                      </a:lnTo>
                      <a:lnTo>
                        <a:pt x="1835" y="377"/>
                      </a:lnTo>
                      <a:lnTo>
                        <a:pt x="1794" y="388"/>
                      </a:lnTo>
                      <a:lnTo>
                        <a:pt x="1763" y="418"/>
                      </a:lnTo>
                      <a:lnTo>
                        <a:pt x="1763" y="435"/>
                      </a:lnTo>
                      <a:lnTo>
                        <a:pt x="1775" y="463"/>
                      </a:lnTo>
                      <a:lnTo>
                        <a:pt x="1824" y="471"/>
                      </a:lnTo>
                      <a:lnTo>
                        <a:pt x="1863" y="505"/>
                      </a:lnTo>
                      <a:lnTo>
                        <a:pt x="1929" y="597"/>
                      </a:lnTo>
                      <a:lnTo>
                        <a:pt x="1956" y="658"/>
                      </a:lnTo>
                      <a:lnTo>
                        <a:pt x="1960" y="722"/>
                      </a:lnTo>
                      <a:lnTo>
                        <a:pt x="1954" y="775"/>
                      </a:lnTo>
                      <a:lnTo>
                        <a:pt x="1938" y="775"/>
                      </a:lnTo>
                      <a:lnTo>
                        <a:pt x="1921" y="756"/>
                      </a:lnTo>
                      <a:lnTo>
                        <a:pt x="1896" y="781"/>
                      </a:lnTo>
                      <a:lnTo>
                        <a:pt x="1870" y="803"/>
                      </a:lnTo>
                      <a:lnTo>
                        <a:pt x="1866" y="840"/>
                      </a:lnTo>
                      <a:lnTo>
                        <a:pt x="1894" y="884"/>
                      </a:lnTo>
                      <a:lnTo>
                        <a:pt x="1876" y="920"/>
                      </a:lnTo>
                      <a:lnTo>
                        <a:pt x="1870" y="982"/>
                      </a:lnTo>
                      <a:lnTo>
                        <a:pt x="1903" y="1021"/>
                      </a:lnTo>
                      <a:lnTo>
                        <a:pt x="1940" y="1032"/>
                      </a:lnTo>
                      <a:lnTo>
                        <a:pt x="1979" y="1074"/>
                      </a:lnTo>
                      <a:lnTo>
                        <a:pt x="2012" y="1130"/>
                      </a:lnTo>
                      <a:lnTo>
                        <a:pt x="2014" y="1213"/>
                      </a:lnTo>
                      <a:lnTo>
                        <a:pt x="2003" y="1252"/>
                      </a:lnTo>
                      <a:lnTo>
                        <a:pt x="1968" y="1286"/>
                      </a:lnTo>
                      <a:lnTo>
                        <a:pt x="1925" y="1303"/>
                      </a:lnTo>
                      <a:lnTo>
                        <a:pt x="1898" y="1328"/>
                      </a:lnTo>
                      <a:lnTo>
                        <a:pt x="1882" y="1314"/>
                      </a:lnTo>
                      <a:lnTo>
                        <a:pt x="1868" y="1328"/>
                      </a:lnTo>
                      <a:lnTo>
                        <a:pt x="1864" y="1389"/>
                      </a:lnTo>
                      <a:lnTo>
                        <a:pt x="1874" y="1425"/>
                      </a:lnTo>
                      <a:lnTo>
                        <a:pt x="1917" y="1467"/>
                      </a:lnTo>
                      <a:lnTo>
                        <a:pt x="1934" y="1509"/>
                      </a:lnTo>
                      <a:lnTo>
                        <a:pt x="1948" y="1531"/>
                      </a:lnTo>
                      <a:lnTo>
                        <a:pt x="1944" y="1576"/>
                      </a:lnTo>
                      <a:lnTo>
                        <a:pt x="1917" y="1612"/>
                      </a:lnTo>
                      <a:lnTo>
                        <a:pt x="1888" y="1612"/>
                      </a:lnTo>
                      <a:lnTo>
                        <a:pt x="1841" y="1559"/>
                      </a:lnTo>
                      <a:lnTo>
                        <a:pt x="1808" y="1540"/>
                      </a:lnTo>
                      <a:lnTo>
                        <a:pt x="1794" y="1529"/>
                      </a:lnTo>
                      <a:lnTo>
                        <a:pt x="1781" y="1556"/>
                      </a:lnTo>
                      <a:lnTo>
                        <a:pt x="1785" y="1596"/>
                      </a:lnTo>
                      <a:lnTo>
                        <a:pt x="1796" y="1626"/>
                      </a:lnTo>
                      <a:lnTo>
                        <a:pt x="1804" y="1674"/>
                      </a:lnTo>
                      <a:lnTo>
                        <a:pt x="1833" y="1690"/>
                      </a:lnTo>
                      <a:lnTo>
                        <a:pt x="1824" y="1715"/>
                      </a:lnTo>
                      <a:lnTo>
                        <a:pt x="1826" y="1752"/>
                      </a:lnTo>
                      <a:lnTo>
                        <a:pt x="1835" y="1788"/>
                      </a:lnTo>
                      <a:lnTo>
                        <a:pt x="1816" y="1785"/>
                      </a:lnTo>
                      <a:lnTo>
                        <a:pt x="1794" y="1743"/>
                      </a:lnTo>
                      <a:lnTo>
                        <a:pt x="1796" y="1699"/>
                      </a:lnTo>
                      <a:lnTo>
                        <a:pt x="1789" y="1685"/>
                      </a:lnTo>
                      <a:lnTo>
                        <a:pt x="1781" y="1635"/>
                      </a:lnTo>
                      <a:lnTo>
                        <a:pt x="1771" y="1621"/>
                      </a:lnTo>
                      <a:lnTo>
                        <a:pt x="1767" y="1551"/>
                      </a:lnTo>
                      <a:lnTo>
                        <a:pt x="1754" y="1509"/>
                      </a:lnTo>
                      <a:lnTo>
                        <a:pt x="1730" y="1470"/>
                      </a:lnTo>
                      <a:lnTo>
                        <a:pt x="1688" y="1448"/>
                      </a:lnTo>
                      <a:lnTo>
                        <a:pt x="1658" y="1411"/>
                      </a:lnTo>
                      <a:lnTo>
                        <a:pt x="1647" y="1384"/>
                      </a:lnTo>
                      <a:lnTo>
                        <a:pt x="1625" y="1353"/>
                      </a:lnTo>
                      <a:lnTo>
                        <a:pt x="1592" y="1283"/>
                      </a:lnTo>
                      <a:lnTo>
                        <a:pt x="1563" y="1289"/>
                      </a:lnTo>
                      <a:lnTo>
                        <a:pt x="1524" y="1322"/>
                      </a:lnTo>
                      <a:lnTo>
                        <a:pt x="1507" y="1350"/>
                      </a:lnTo>
                      <a:lnTo>
                        <a:pt x="1472" y="1403"/>
                      </a:lnTo>
                      <a:lnTo>
                        <a:pt x="1446" y="1459"/>
                      </a:lnTo>
                      <a:lnTo>
                        <a:pt x="1437" y="1478"/>
                      </a:lnTo>
                      <a:lnTo>
                        <a:pt x="1446" y="1543"/>
                      </a:lnTo>
                      <a:lnTo>
                        <a:pt x="1445" y="1607"/>
                      </a:lnTo>
                      <a:lnTo>
                        <a:pt x="1413" y="1651"/>
                      </a:lnTo>
                      <a:lnTo>
                        <a:pt x="1396" y="1654"/>
                      </a:lnTo>
                      <a:lnTo>
                        <a:pt x="1359" y="1562"/>
                      </a:lnTo>
                      <a:lnTo>
                        <a:pt x="1330" y="1498"/>
                      </a:lnTo>
                      <a:lnTo>
                        <a:pt x="1272" y="1375"/>
                      </a:lnTo>
                      <a:lnTo>
                        <a:pt x="1270" y="1328"/>
                      </a:lnTo>
                      <a:lnTo>
                        <a:pt x="1256" y="1305"/>
                      </a:lnTo>
                      <a:lnTo>
                        <a:pt x="1246" y="1336"/>
                      </a:lnTo>
                      <a:lnTo>
                        <a:pt x="1196" y="1266"/>
                      </a:lnTo>
                      <a:lnTo>
                        <a:pt x="1128" y="1213"/>
                      </a:lnTo>
                      <a:lnTo>
                        <a:pt x="1085" y="1225"/>
                      </a:lnTo>
                      <a:lnTo>
                        <a:pt x="1023" y="1219"/>
                      </a:lnTo>
                      <a:lnTo>
                        <a:pt x="993" y="1180"/>
                      </a:lnTo>
                      <a:lnTo>
                        <a:pt x="960" y="1185"/>
                      </a:lnTo>
                      <a:lnTo>
                        <a:pt x="914" y="1169"/>
                      </a:lnTo>
                      <a:lnTo>
                        <a:pt x="817" y="1038"/>
                      </a:lnTo>
                      <a:lnTo>
                        <a:pt x="822" y="1091"/>
                      </a:lnTo>
                      <a:lnTo>
                        <a:pt x="852" y="1166"/>
                      </a:lnTo>
                      <a:lnTo>
                        <a:pt x="885" y="1219"/>
                      </a:lnTo>
                      <a:lnTo>
                        <a:pt x="920" y="1247"/>
                      </a:lnTo>
                      <a:lnTo>
                        <a:pt x="958" y="1225"/>
                      </a:lnTo>
                      <a:lnTo>
                        <a:pt x="990" y="1225"/>
                      </a:lnTo>
                      <a:lnTo>
                        <a:pt x="1030" y="1272"/>
                      </a:lnTo>
                      <a:lnTo>
                        <a:pt x="1054" y="1308"/>
                      </a:lnTo>
                      <a:lnTo>
                        <a:pt x="1050" y="1331"/>
                      </a:lnTo>
                      <a:lnTo>
                        <a:pt x="980" y="1434"/>
                      </a:lnTo>
                      <a:lnTo>
                        <a:pt x="933" y="1473"/>
                      </a:lnTo>
                      <a:lnTo>
                        <a:pt x="836" y="1523"/>
                      </a:lnTo>
                      <a:lnTo>
                        <a:pt x="807" y="1540"/>
                      </a:lnTo>
                      <a:lnTo>
                        <a:pt x="789" y="1523"/>
                      </a:lnTo>
                      <a:lnTo>
                        <a:pt x="784" y="1503"/>
                      </a:lnTo>
                      <a:lnTo>
                        <a:pt x="782" y="1473"/>
                      </a:lnTo>
                      <a:lnTo>
                        <a:pt x="774" y="1442"/>
                      </a:lnTo>
                      <a:lnTo>
                        <a:pt x="760" y="1417"/>
                      </a:lnTo>
                      <a:lnTo>
                        <a:pt x="749" y="1395"/>
                      </a:lnTo>
                      <a:lnTo>
                        <a:pt x="731" y="1364"/>
                      </a:lnTo>
                      <a:lnTo>
                        <a:pt x="721" y="1344"/>
                      </a:lnTo>
                      <a:lnTo>
                        <a:pt x="714" y="1319"/>
                      </a:lnTo>
                      <a:lnTo>
                        <a:pt x="700" y="1297"/>
                      </a:lnTo>
                      <a:lnTo>
                        <a:pt x="679" y="1241"/>
                      </a:lnTo>
                      <a:lnTo>
                        <a:pt x="667" y="1219"/>
                      </a:lnTo>
                      <a:lnTo>
                        <a:pt x="651" y="1188"/>
                      </a:lnTo>
                      <a:lnTo>
                        <a:pt x="626" y="1146"/>
                      </a:lnTo>
                      <a:lnTo>
                        <a:pt x="612" y="1121"/>
                      </a:lnTo>
                      <a:lnTo>
                        <a:pt x="601" y="1105"/>
                      </a:lnTo>
                      <a:lnTo>
                        <a:pt x="587" y="1068"/>
                      </a:lnTo>
                      <a:lnTo>
                        <a:pt x="628" y="1035"/>
                      </a:lnTo>
                      <a:lnTo>
                        <a:pt x="645" y="962"/>
                      </a:lnTo>
                      <a:lnTo>
                        <a:pt x="607" y="943"/>
                      </a:lnTo>
                      <a:lnTo>
                        <a:pt x="554" y="954"/>
                      </a:lnTo>
                      <a:lnTo>
                        <a:pt x="542" y="946"/>
                      </a:lnTo>
                      <a:lnTo>
                        <a:pt x="537" y="946"/>
                      </a:lnTo>
                      <a:lnTo>
                        <a:pt x="529" y="946"/>
                      </a:lnTo>
                      <a:lnTo>
                        <a:pt x="523" y="946"/>
                      </a:lnTo>
                      <a:lnTo>
                        <a:pt x="521" y="932"/>
                      </a:lnTo>
                      <a:lnTo>
                        <a:pt x="517" y="920"/>
                      </a:lnTo>
                      <a:lnTo>
                        <a:pt x="517" y="898"/>
                      </a:lnTo>
                      <a:lnTo>
                        <a:pt x="507" y="887"/>
                      </a:lnTo>
                      <a:lnTo>
                        <a:pt x="505" y="873"/>
                      </a:lnTo>
                      <a:lnTo>
                        <a:pt x="500" y="870"/>
                      </a:lnTo>
                      <a:lnTo>
                        <a:pt x="494" y="859"/>
                      </a:lnTo>
                      <a:lnTo>
                        <a:pt x="492" y="848"/>
                      </a:lnTo>
                      <a:lnTo>
                        <a:pt x="488" y="837"/>
                      </a:lnTo>
                      <a:lnTo>
                        <a:pt x="484" y="831"/>
                      </a:lnTo>
                      <a:lnTo>
                        <a:pt x="472" y="831"/>
                      </a:lnTo>
                      <a:lnTo>
                        <a:pt x="465" y="831"/>
                      </a:lnTo>
                      <a:lnTo>
                        <a:pt x="461" y="831"/>
                      </a:lnTo>
                      <a:lnTo>
                        <a:pt x="459" y="845"/>
                      </a:lnTo>
                      <a:lnTo>
                        <a:pt x="459" y="859"/>
                      </a:lnTo>
                      <a:lnTo>
                        <a:pt x="459" y="876"/>
                      </a:lnTo>
                      <a:lnTo>
                        <a:pt x="459" y="893"/>
                      </a:lnTo>
                      <a:lnTo>
                        <a:pt x="459" y="904"/>
                      </a:lnTo>
                      <a:lnTo>
                        <a:pt x="449" y="909"/>
                      </a:lnTo>
                      <a:lnTo>
                        <a:pt x="441" y="920"/>
                      </a:lnTo>
                      <a:lnTo>
                        <a:pt x="430" y="904"/>
                      </a:lnTo>
                      <a:lnTo>
                        <a:pt x="422" y="881"/>
                      </a:lnTo>
                      <a:lnTo>
                        <a:pt x="424" y="856"/>
                      </a:lnTo>
                      <a:lnTo>
                        <a:pt x="412" y="823"/>
                      </a:lnTo>
                      <a:lnTo>
                        <a:pt x="406" y="801"/>
                      </a:lnTo>
                      <a:lnTo>
                        <a:pt x="393" y="787"/>
                      </a:lnTo>
                      <a:lnTo>
                        <a:pt x="377" y="773"/>
                      </a:lnTo>
                      <a:lnTo>
                        <a:pt x="369" y="753"/>
                      </a:lnTo>
                      <a:lnTo>
                        <a:pt x="364" y="739"/>
                      </a:lnTo>
                      <a:lnTo>
                        <a:pt x="350" y="736"/>
                      </a:lnTo>
                      <a:lnTo>
                        <a:pt x="346" y="728"/>
                      </a:lnTo>
                      <a:lnTo>
                        <a:pt x="336" y="728"/>
                      </a:lnTo>
                      <a:lnTo>
                        <a:pt x="329" y="742"/>
                      </a:lnTo>
                      <a:lnTo>
                        <a:pt x="321" y="753"/>
                      </a:lnTo>
                      <a:lnTo>
                        <a:pt x="338" y="767"/>
                      </a:lnTo>
                      <a:lnTo>
                        <a:pt x="348" y="787"/>
                      </a:lnTo>
                      <a:lnTo>
                        <a:pt x="366" y="812"/>
                      </a:lnTo>
                      <a:lnTo>
                        <a:pt x="373" y="823"/>
                      </a:lnTo>
                      <a:lnTo>
                        <a:pt x="387" y="831"/>
                      </a:lnTo>
                      <a:lnTo>
                        <a:pt x="397" y="848"/>
                      </a:lnTo>
                      <a:lnTo>
                        <a:pt x="385" y="868"/>
                      </a:lnTo>
                      <a:lnTo>
                        <a:pt x="383" y="859"/>
                      </a:lnTo>
                      <a:lnTo>
                        <a:pt x="383" y="848"/>
                      </a:lnTo>
                      <a:lnTo>
                        <a:pt x="377" y="873"/>
                      </a:lnTo>
                      <a:lnTo>
                        <a:pt x="375" y="895"/>
                      </a:lnTo>
                      <a:lnTo>
                        <a:pt x="364" y="901"/>
                      </a:lnTo>
                      <a:lnTo>
                        <a:pt x="367" y="873"/>
                      </a:lnTo>
                      <a:lnTo>
                        <a:pt x="366" y="859"/>
                      </a:lnTo>
                      <a:lnTo>
                        <a:pt x="352" y="851"/>
                      </a:lnTo>
                      <a:lnTo>
                        <a:pt x="346" y="845"/>
                      </a:lnTo>
                      <a:lnTo>
                        <a:pt x="340" y="834"/>
                      </a:lnTo>
                      <a:lnTo>
                        <a:pt x="329" y="828"/>
                      </a:lnTo>
                      <a:lnTo>
                        <a:pt x="321" y="820"/>
                      </a:lnTo>
                      <a:lnTo>
                        <a:pt x="313" y="803"/>
                      </a:lnTo>
                      <a:lnTo>
                        <a:pt x="303" y="795"/>
                      </a:lnTo>
                      <a:lnTo>
                        <a:pt x="297" y="778"/>
                      </a:lnTo>
                      <a:lnTo>
                        <a:pt x="296" y="764"/>
                      </a:lnTo>
                      <a:lnTo>
                        <a:pt x="288" y="759"/>
                      </a:lnTo>
                      <a:lnTo>
                        <a:pt x="280" y="750"/>
                      </a:lnTo>
                      <a:lnTo>
                        <a:pt x="264" y="750"/>
                      </a:lnTo>
                      <a:lnTo>
                        <a:pt x="251" y="753"/>
                      </a:lnTo>
                      <a:lnTo>
                        <a:pt x="235" y="750"/>
                      </a:lnTo>
                      <a:lnTo>
                        <a:pt x="208" y="753"/>
                      </a:lnTo>
                      <a:lnTo>
                        <a:pt x="189" y="756"/>
                      </a:lnTo>
                      <a:lnTo>
                        <a:pt x="183" y="762"/>
                      </a:lnTo>
                      <a:lnTo>
                        <a:pt x="181" y="778"/>
                      </a:lnTo>
                      <a:lnTo>
                        <a:pt x="181" y="798"/>
                      </a:lnTo>
                      <a:lnTo>
                        <a:pt x="169" y="817"/>
                      </a:lnTo>
                      <a:lnTo>
                        <a:pt x="161" y="826"/>
                      </a:lnTo>
                      <a:lnTo>
                        <a:pt x="157" y="831"/>
                      </a:lnTo>
                      <a:lnTo>
                        <a:pt x="152" y="845"/>
                      </a:lnTo>
                      <a:lnTo>
                        <a:pt x="148" y="856"/>
                      </a:lnTo>
                      <a:lnTo>
                        <a:pt x="154" y="865"/>
                      </a:lnTo>
                      <a:lnTo>
                        <a:pt x="154" y="881"/>
                      </a:lnTo>
                      <a:lnTo>
                        <a:pt x="152" y="890"/>
                      </a:lnTo>
                      <a:lnTo>
                        <a:pt x="148" y="901"/>
                      </a:lnTo>
                      <a:lnTo>
                        <a:pt x="138" y="920"/>
                      </a:lnTo>
                      <a:lnTo>
                        <a:pt x="132" y="912"/>
                      </a:lnTo>
                      <a:lnTo>
                        <a:pt x="126" y="918"/>
                      </a:lnTo>
                      <a:lnTo>
                        <a:pt x="119" y="926"/>
                      </a:lnTo>
                      <a:lnTo>
                        <a:pt x="107" y="929"/>
                      </a:lnTo>
                      <a:lnTo>
                        <a:pt x="95" y="943"/>
                      </a:lnTo>
                      <a:lnTo>
                        <a:pt x="84" y="946"/>
                      </a:lnTo>
                      <a:lnTo>
                        <a:pt x="72" y="946"/>
                      </a:lnTo>
                      <a:lnTo>
                        <a:pt x="60" y="946"/>
                      </a:lnTo>
                      <a:lnTo>
                        <a:pt x="35" y="954"/>
                      </a:lnTo>
                      <a:lnTo>
                        <a:pt x="23" y="954"/>
                      </a:lnTo>
                      <a:lnTo>
                        <a:pt x="17" y="934"/>
                      </a:lnTo>
                      <a:lnTo>
                        <a:pt x="12" y="909"/>
                      </a:lnTo>
                      <a:lnTo>
                        <a:pt x="8" y="887"/>
                      </a:lnTo>
                      <a:lnTo>
                        <a:pt x="6" y="865"/>
                      </a:lnTo>
                      <a:lnTo>
                        <a:pt x="6" y="837"/>
                      </a:lnTo>
                      <a:lnTo>
                        <a:pt x="0" y="803"/>
                      </a:ln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 cap="rnd">
                      <a:solidFill>
                        <a:schemeClr val="tx1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</p:grpSp>
        <p:grpSp>
          <p:nvGrpSpPr>
            <p:cNvPr id="1065" name="Group 41"/>
            <p:cNvGrpSpPr>
              <a:grpSpLocks/>
            </p:cNvGrpSpPr>
            <p:nvPr/>
          </p:nvGrpSpPr>
          <p:grpSpPr bwMode="auto">
            <a:xfrm>
              <a:off x="92" y="615"/>
              <a:ext cx="1865" cy="3311"/>
              <a:chOff x="92" y="615"/>
              <a:chExt cx="1865" cy="3311"/>
            </a:xfrm>
          </p:grpSpPr>
          <p:sp>
            <p:nvSpPr>
              <p:cNvPr id="1059" name="Freeform 35"/>
              <p:cNvSpPr>
                <a:spLocks/>
              </p:cNvSpPr>
              <p:nvPr/>
            </p:nvSpPr>
            <p:spPr bwMode="auto">
              <a:xfrm>
                <a:off x="92" y="761"/>
                <a:ext cx="1262" cy="1550"/>
              </a:xfrm>
              <a:custGeom>
                <a:avLst/>
                <a:gdLst>
                  <a:gd name="T0" fmla="*/ 101 w 1262"/>
                  <a:gd name="T1" fmla="*/ 290 h 1550"/>
                  <a:gd name="T2" fmla="*/ 82 w 1262"/>
                  <a:gd name="T3" fmla="*/ 203 h 1550"/>
                  <a:gd name="T4" fmla="*/ 181 w 1262"/>
                  <a:gd name="T5" fmla="*/ 131 h 1550"/>
                  <a:gd name="T6" fmla="*/ 225 w 1262"/>
                  <a:gd name="T7" fmla="*/ 75 h 1550"/>
                  <a:gd name="T8" fmla="*/ 303 w 1262"/>
                  <a:gd name="T9" fmla="*/ 64 h 1550"/>
                  <a:gd name="T10" fmla="*/ 544 w 1262"/>
                  <a:gd name="T11" fmla="*/ 67 h 1550"/>
                  <a:gd name="T12" fmla="*/ 666 w 1262"/>
                  <a:gd name="T13" fmla="*/ 95 h 1550"/>
                  <a:gd name="T14" fmla="*/ 620 w 1262"/>
                  <a:gd name="T15" fmla="*/ 92 h 1550"/>
                  <a:gd name="T16" fmla="*/ 589 w 1262"/>
                  <a:gd name="T17" fmla="*/ 3 h 1550"/>
                  <a:gd name="T18" fmla="*/ 649 w 1262"/>
                  <a:gd name="T19" fmla="*/ 0 h 1550"/>
                  <a:gd name="T20" fmla="*/ 696 w 1262"/>
                  <a:gd name="T21" fmla="*/ 39 h 1550"/>
                  <a:gd name="T22" fmla="*/ 767 w 1262"/>
                  <a:gd name="T23" fmla="*/ 103 h 1550"/>
                  <a:gd name="T24" fmla="*/ 754 w 1262"/>
                  <a:gd name="T25" fmla="*/ 33 h 1550"/>
                  <a:gd name="T26" fmla="*/ 884 w 1262"/>
                  <a:gd name="T27" fmla="*/ 100 h 1550"/>
                  <a:gd name="T28" fmla="*/ 886 w 1262"/>
                  <a:gd name="T29" fmla="*/ 128 h 1550"/>
                  <a:gd name="T30" fmla="*/ 847 w 1262"/>
                  <a:gd name="T31" fmla="*/ 198 h 1550"/>
                  <a:gd name="T32" fmla="*/ 814 w 1262"/>
                  <a:gd name="T33" fmla="*/ 312 h 1550"/>
                  <a:gd name="T34" fmla="*/ 935 w 1262"/>
                  <a:gd name="T35" fmla="*/ 376 h 1550"/>
                  <a:gd name="T36" fmla="*/ 938 w 1262"/>
                  <a:gd name="T37" fmla="*/ 476 h 1550"/>
                  <a:gd name="T38" fmla="*/ 956 w 1262"/>
                  <a:gd name="T39" fmla="*/ 398 h 1550"/>
                  <a:gd name="T40" fmla="*/ 956 w 1262"/>
                  <a:gd name="T41" fmla="*/ 254 h 1550"/>
                  <a:gd name="T42" fmla="*/ 1043 w 1262"/>
                  <a:gd name="T43" fmla="*/ 293 h 1550"/>
                  <a:gd name="T44" fmla="*/ 1098 w 1262"/>
                  <a:gd name="T45" fmla="*/ 251 h 1550"/>
                  <a:gd name="T46" fmla="*/ 1195 w 1262"/>
                  <a:gd name="T47" fmla="*/ 357 h 1550"/>
                  <a:gd name="T48" fmla="*/ 1261 w 1262"/>
                  <a:gd name="T49" fmla="*/ 449 h 1550"/>
                  <a:gd name="T50" fmla="*/ 1209 w 1262"/>
                  <a:gd name="T51" fmla="*/ 485 h 1550"/>
                  <a:gd name="T52" fmla="*/ 1117 w 1262"/>
                  <a:gd name="T53" fmla="*/ 515 h 1550"/>
                  <a:gd name="T54" fmla="*/ 1181 w 1262"/>
                  <a:gd name="T55" fmla="*/ 535 h 1550"/>
                  <a:gd name="T56" fmla="*/ 1209 w 1262"/>
                  <a:gd name="T57" fmla="*/ 618 h 1550"/>
                  <a:gd name="T58" fmla="*/ 1183 w 1262"/>
                  <a:gd name="T59" fmla="*/ 624 h 1550"/>
                  <a:gd name="T60" fmla="*/ 1146 w 1262"/>
                  <a:gd name="T61" fmla="*/ 657 h 1550"/>
                  <a:gd name="T62" fmla="*/ 1088 w 1262"/>
                  <a:gd name="T63" fmla="*/ 730 h 1550"/>
                  <a:gd name="T64" fmla="*/ 1082 w 1262"/>
                  <a:gd name="T65" fmla="*/ 839 h 1550"/>
                  <a:gd name="T66" fmla="*/ 1020 w 1262"/>
                  <a:gd name="T67" fmla="*/ 1003 h 1550"/>
                  <a:gd name="T68" fmla="*/ 1038 w 1262"/>
                  <a:gd name="T69" fmla="*/ 1142 h 1550"/>
                  <a:gd name="T70" fmla="*/ 1003 w 1262"/>
                  <a:gd name="T71" fmla="*/ 1048 h 1550"/>
                  <a:gd name="T72" fmla="*/ 942 w 1262"/>
                  <a:gd name="T73" fmla="*/ 1006 h 1550"/>
                  <a:gd name="T74" fmla="*/ 890 w 1262"/>
                  <a:gd name="T75" fmla="*/ 1034 h 1550"/>
                  <a:gd name="T76" fmla="*/ 804 w 1262"/>
                  <a:gd name="T77" fmla="*/ 1048 h 1550"/>
                  <a:gd name="T78" fmla="*/ 760 w 1262"/>
                  <a:gd name="T79" fmla="*/ 1151 h 1550"/>
                  <a:gd name="T80" fmla="*/ 859 w 1262"/>
                  <a:gd name="T81" fmla="*/ 1290 h 1550"/>
                  <a:gd name="T82" fmla="*/ 874 w 1262"/>
                  <a:gd name="T83" fmla="*/ 1212 h 1550"/>
                  <a:gd name="T84" fmla="*/ 931 w 1262"/>
                  <a:gd name="T85" fmla="*/ 1268 h 1550"/>
                  <a:gd name="T86" fmla="*/ 962 w 1262"/>
                  <a:gd name="T87" fmla="*/ 1346 h 1550"/>
                  <a:gd name="T88" fmla="*/ 987 w 1262"/>
                  <a:gd name="T89" fmla="*/ 1415 h 1550"/>
                  <a:gd name="T90" fmla="*/ 1045 w 1262"/>
                  <a:gd name="T91" fmla="*/ 1521 h 1550"/>
                  <a:gd name="T92" fmla="*/ 1133 w 1262"/>
                  <a:gd name="T93" fmla="*/ 1518 h 1550"/>
                  <a:gd name="T94" fmla="*/ 1080 w 1262"/>
                  <a:gd name="T95" fmla="*/ 1532 h 1550"/>
                  <a:gd name="T96" fmla="*/ 977 w 1262"/>
                  <a:gd name="T97" fmla="*/ 1516 h 1550"/>
                  <a:gd name="T98" fmla="*/ 905 w 1262"/>
                  <a:gd name="T99" fmla="*/ 1421 h 1550"/>
                  <a:gd name="T100" fmla="*/ 853 w 1262"/>
                  <a:gd name="T101" fmla="*/ 1385 h 1550"/>
                  <a:gd name="T102" fmla="*/ 769 w 1262"/>
                  <a:gd name="T103" fmla="*/ 1340 h 1550"/>
                  <a:gd name="T104" fmla="*/ 622 w 1262"/>
                  <a:gd name="T105" fmla="*/ 1190 h 1550"/>
                  <a:gd name="T106" fmla="*/ 501 w 1262"/>
                  <a:gd name="T107" fmla="*/ 970 h 1550"/>
                  <a:gd name="T108" fmla="*/ 542 w 1262"/>
                  <a:gd name="T109" fmla="*/ 1167 h 1550"/>
                  <a:gd name="T110" fmla="*/ 464 w 1262"/>
                  <a:gd name="T111" fmla="*/ 1031 h 1550"/>
                  <a:gd name="T112" fmla="*/ 392 w 1262"/>
                  <a:gd name="T113" fmla="*/ 763 h 1550"/>
                  <a:gd name="T114" fmla="*/ 400 w 1262"/>
                  <a:gd name="T115" fmla="*/ 568 h 1550"/>
                  <a:gd name="T116" fmla="*/ 375 w 1262"/>
                  <a:gd name="T117" fmla="*/ 418 h 1550"/>
                  <a:gd name="T118" fmla="*/ 354 w 1262"/>
                  <a:gd name="T119" fmla="*/ 329 h 1550"/>
                  <a:gd name="T120" fmla="*/ 305 w 1262"/>
                  <a:gd name="T121" fmla="*/ 276 h 1550"/>
                  <a:gd name="T122" fmla="*/ 202 w 1262"/>
                  <a:gd name="T123" fmla="*/ 290 h 1550"/>
                  <a:gd name="T124" fmla="*/ 124 w 1262"/>
                  <a:gd name="T125" fmla="*/ 345 h 1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62" h="1550">
                    <a:moveTo>
                      <a:pt x="0" y="398"/>
                    </a:moveTo>
                    <a:lnTo>
                      <a:pt x="60" y="345"/>
                    </a:lnTo>
                    <a:lnTo>
                      <a:pt x="95" y="323"/>
                    </a:lnTo>
                    <a:lnTo>
                      <a:pt x="101" y="290"/>
                    </a:lnTo>
                    <a:lnTo>
                      <a:pt x="74" y="270"/>
                    </a:lnTo>
                    <a:lnTo>
                      <a:pt x="72" y="231"/>
                    </a:lnTo>
                    <a:lnTo>
                      <a:pt x="84" y="220"/>
                    </a:lnTo>
                    <a:lnTo>
                      <a:pt x="82" y="203"/>
                    </a:lnTo>
                    <a:lnTo>
                      <a:pt x="128" y="198"/>
                    </a:lnTo>
                    <a:lnTo>
                      <a:pt x="140" y="167"/>
                    </a:lnTo>
                    <a:lnTo>
                      <a:pt x="142" y="139"/>
                    </a:lnTo>
                    <a:lnTo>
                      <a:pt x="181" y="131"/>
                    </a:lnTo>
                    <a:lnTo>
                      <a:pt x="185" y="103"/>
                    </a:lnTo>
                    <a:lnTo>
                      <a:pt x="148" y="95"/>
                    </a:lnTo>
                    <a:lnTo>
                      <a:pt x="165" y="75"/>
                    </a:lnTo>
                    <a:lnTo>
                      <a:pt x="225" y="75"/>
                    </a:lnTo>
                    <a:lnTo>
                      <a:pt x="243" y="53"/>
                    </a:lnTo>
                    <a:lnTo>
                      <a:pt x="268" y="50"/>
                    </a:lnTo>
                    <a:lnTo>
                      <a:pt x="284" y="33"/>
                    </a:lnTo>
                    <a:lnTo>
                      <a:pt x="303" y="64"/>
                    </a:lnTo>
                    <a:lnTo>
                      <a:pt x="379" y="59"/>
                    </a:lnTo>
                    <a:lnTo>
                      <a:pt x="414" y="92"/>
                    </a:lnTo>
                    <a:lnTo>
                      <a:pt x="527" y="84"/>
                    </a:lnTo>
                    <a:lnTo>
                      <a:pt x="544" y="67"/>
                    </a:lnTo>
                    <a:lnTo>
                      <a:pt x="587" y="95"/>
                    </a:lnTo>
                    <a:lnTo>
                      <a:pt x="631" y="120"/>
                    </a:lnTo>
                    <a:lnTo>
                      <a:pt x="653" y="109"/>
                    </a:lnTo>
                    <a:lnTo>
                      <a:pt x="666" y="95"/>
                    </a:lnTo>
                    <a:lnTo>
                      <a:pt x="703" y="103"/>
                    </a:lnTo>
                    <a:lnTo>
                      <a:pt x="678" y="84"/>
                    </a:lnTo>
                    <a:lnTo>
                      <a:pt x="655" y="86"/>
                    </a:lnTo>
                    <a:lnTo>
                      <a:pt x="620" y="92"/>
                    </a:lnTo>
                    <a:lnTo>
                      <a:pt x="602" y="64"/>
                    </a:lnTo>
                    <a:lnTo>
                      <a:pt x="583" y="50"/>
                    </a:lnTo>
                    <a:lnTo>
                      <a:pt x="583" y="28"/>
                    </a:lnTo>
                    <a:lnTo>
                      <a:pt x="589" y="3"/>
                    </a:lnTo>
                    <a:lnTo>
                      <a:pt x="604" y="0"/>
                    </a:lnTo>
                    <a:lnTo>
                      <a:pt x="626" y="22"/>
                    </a:lnTo>
                    <a:lnTo>
                      <a:pt x="631" y="11"/>
                    </a:lnTo>
                    <a:lnTo>
                      <a:pt x="649" y="0"/>
                    </a:lnTo>
                    <a:lnTo>
                      <a:pt x="670" y="17"/>
                    </a:lnTo>
                    <a:lnTo>
                      <a:pt x="682" y="3"/>
                    </a:lnTo>
                    <a:lnTo>
                      <a:pt x="694" y="25"/>
                    </a:lnTo>
                    <a:lnTo>
                      <a:pt x="696" y="39"/>
                    </a:lnTo>
                    <a:lnTo>
                      <a:pt x="727" y="59"/>
                    </a:lnTo>
                    <a:lnTo>
                      <a:pt x="715" y="75"/>
                    </a:lnTo>
                    <a:lnTo>
                      <a:pt x="715" y="98"/>
                    </a:lnTo>
                    <a:lnTo>
                      <a:pt x="767" y="103"/>
                    </a:lnTo>
                    <a:lnTo>
                      <a:pt x="781" y="75"/>
                    </a:lnTo>
                    <a:lnTo>
                      <a:pt x="771" y="61"/>
                    </a:lnTo>
                    <a:lnTo>
                      <a:pt x="748" y="64"/>
                    </a:lnTo>
                    <a:lnTo>
                      <a:pt x="754" y="33"/>
                    </a:lnTo>
                    <a:lnTo>
                      <a:pt x="801" y="50"/>
                    </a:lnTo>
                    <a:lnTo>
                      <a:pt x="810" y="72"/>
                    </a:lnTo>
                    <a:lnTo>
                      <a:pt x="849" y="72"/>
                    </a:lnTo>
                    <a:lnTo>
                      <a:pt x="884" y="100"/>
                    </a:lnTo>
                    <a:lnTo>
                      <a:pt x="903" y="95"/>
                    </a:lnTo>
                    <a:lnTo>
                      <a:pt x="925" y="120"/>
                    </a:lnTo>
                    <a:lnTo>
                      <a:pt x="903" y="153"/>
                    </a:lnTo>
                    <a:lnTo>
                      <a:pt x="886" y="128"/>
                    </a:lnTo>
                    <a:lnTo>
                      <a:pt x="874" y="137"/>
                    </a:lnTo>
                    <a:lnTo>
                      <a:pt x="859" y="156"/>
                    </a:lnTo>
                    <a:lnTo>
                      <a:pt x="834" y="173"/>
                    </a:lnTo>
                    <a:lnTo>
                      <a:pt x="847" y="198"/>
                    </a:lnTo>
                    <a:lnTo>
                      <a:pt x="824" y="201"/>
                    </a:lnTo>
                    <a:lnTo>
                      <a:pt x="804" y="234"/>
                    </a:lnTo>
                    <a:lnTo>
                      <a:pt x="785" y="276"/>
                    </a:lnTo>
                    <a:lnTo>
                      <a:pt x="814" y="312"/>
                    </a:lnTo>
                    <a:lnTo>
                      <a:pt x="837" y="354"/>
                    </a:lnTo>
                    <a:lnTo>
                      <a:pt x="878" y="359"/>
                    </a:lnTo>
                    <a:lnTo>
                      <a:pt x="917" y="354"/>
                    </a:lnTo>
                    <a:lnTo>
                      <a:pt x="935" y="376"/>
                    </a:lnTo>
                    <a:lnTo>
                      <a:pt x="927" y="387"/>
                    </a:lnTo>
                    <a:lnTo>
                      <a:pt x="915" y="410"/>
                    </a:lnTo>
                    <a:lnTo>
                      <a:pt x="933" y="449"/>
                    </a:lnTo>
                    <a:lnTo>
                      <a:pt x="938" y="476"/>
                    </a:lnTo>
                    <a:lnTo>
                      <a:pt x="960" y="490"/>
                    </a:lnTo>
                    <a:lnTo>
                      <a:pt x="989" y="465"/>
                    </a:lnTo>
                    <a:lnTo>
                      <a:pt x="981" y="429"/>
                    </a:lnTo>
                    <a:lnTo>
                      <a:pt x="956" y="398"/>
                    </a:lnTo>
                    <a:lnTo>
                      <a:pt x="985" y="362"/>
                    </a:lnTo>
                    <a:lnTo>
                      <a:pt x="960" y="301"/>
                    </a:lnTo>
                    <a:lnTo>
                      <a:pt x="937" y="276"/>
                    </a:lnTo>
                    <a:lnTo>
                      <a:pt x="956" y="254"/>
                    </a:lnTo>
                    <a:lnTo>
                      <a:pt x="952" y="220"/>
                    </a:lnTo>
                    <a:lnTo>
                      <a:pt x="966" y="201"/>
                    </a:lnTo>
                    <a:lnTo>
                      <a:pt x="989" y="220"/>
                    </a:lnTo>
                    <a:lnTo>
                      <a:pt x="1043" y="293"/>
                    </a:lnTo>
                    <a:lnTo>
                      <a:pt x="1076" y="304"/>
                    </a:lnTo>
                    <a:lnTo>
                      <a:pt x="1086" y="284"/>
                    </a:lnTo>
                    <a:lnTo>
                      <a:pt x="1078" y="245"/>
                    </a:lnTo>
                    <a:lnTo>
                      <a:pt x="1098" y="251"/>
                    </a:lnTo>
                    <a:lnTo>
                      <a:pt x="1131" y="295"/>
                    </a:lnTo>
                    <a:lnTo>
                      <a:pt x="1137" y="320"/>
                    </a:lnTo>
                    <a:lnTo>
                      <a:pt x="1156" y="337"/>
                    </a:lnTo>
                    <a:lnTo>
                      <a:pt x="1195" y="357"/>
                    </a:lnTo>
                    <a:lnTo>
                      <a:pt x="1214" y="393"/>
                    </a:lnTo>
                    <a:lnTo>
                      <a:pt x="1244" y="418"/>
                    </a:lnTo>
                    <a:lnTo>
                      <a:pt x="1259" y="426"/>
                    </a:lnTo>
                    <a:lnTo>
                      <a:pt x="1261" y="449"/>
                    </a:lnTo>
                    <a:lnTo>
                      <a:pt x="1238" y="462"/>
                    </a:lnTo>
                    <a:lnTo>
                      <a:pt x="1224" y="446"/>
                    </a:lnTo>
                    <a:lnTo>
                      <a:pt x="1212" y="449"/>
                    </a:lnTo>
                    <a:lnTo>
                      <a:pt x="1209" y="485"/>
                    </a:lnTo>
                    <a:lnTo>
                      <a:pt x="1189" y="493"/>
                    </a:lnTo>
                    <a:lnTo>
                      <a:pt x="1168" y="474"/>
                    </a:lnTo>
                    <a:lnTo>
                      <a:pt x="1123" y="474"/>
                    </a:lnTo>
                    <a:lnTo>
                      <a:pt x="1117" y="515"/>
                    </a:lnTo>
                    <a:lnTo>
                      <a:pt x="1129" y="540"/>
                    </a:lnTo>
                    <a:lnTo>
                      <a:pt x="1146" y="527"/>
                    </a:lnTo>
                    <a:lnTo>
                      <a:pt x="1164" y="521"/>
                    </a:lnTo>
                    <a:lnTo>
                      <a:pt x="1181" y="535"/>
                    </a:lnTo>
                    <a:lnTo>
                      <a:pt x="1158" y="566"/>
                    </a:lnTo>
                    <a:lnTo>
                      <a:pt x="1181" y="593"/>
                    </a:lnTo>
                    <a:lnTo>
                      <a:pt x="1212" y="602"/>
                    </a:lnTo>
                    <a:lnTo>
                      <a:pt x="1209" y="618"/>
                    </a:lnTo>
                    <a:lnTo>
                      <a:pt x="1197" y="621"/>
                    </a:lnTo>
                    <a:lnTo>
                      <a:pt x="1168" y="716"/>
                    </a:lnTo>
                    <a:lnTo>
                      <a:pt x="1170" y="655"/>
                    </a:lnTo>
                    <a:lnTo>
                      <a:pt x="1183" y="624"/>
                    </a:lnTo>
                    <a:lnTo>
                      <a:pt x="1168" y="610"/>
                    </a:lnTo>
                    <a:lnTo>
                      <a:pt x="1150" y="630"/>
                    </a:lnTo>
                    <a:lnTo>
                      <a:pt x="1160" y="646"/>
                    </a:lnTo>
                    <a:lnTo>
                      <a:pt x="1146" y="657"/>
                    </a:lnTo>
                    <a:lnTo>
                      <a:pt x="1133" y="671"/>
                    </a:lnTo>
                    <a:lnTo>
                      <a:pt x="1135" y="713"/>
                    </a:lnTo>
                    <a:lnTo>
                      <a:pt x="1115" y="727"/>
                    </a:lnTo>
                    <a:lnTo>
                      <a:pt x="1088" y="730"/>
                    </a:lnTo>
                    <a:lnTo>
                      <a:pt x="1098" y="752"/>
                    </a:lnTo>
                    <a:lnTo>
                      <a:pt x="1088" y="777"/>
                    </a:lnTo>
                    <a:lnTo>
                      <a:pt x="1098" y="797"/>
                    </a:lnTo>
                    <a:lnTo>
                      <a:pt x="1082" y="839"/>
                    </a:lnTo>
                    <a:lnTo>
                      <a:pt x="1076" y="878"/>
                    </a:lnTo>
                    <a:lnTo>
                      <a:pt x="1053" y="900"/>
                    </a:lnTo>
                    <a:lnTo>
                      <a:pt x="1024" y="961"/>
                    </a:lnTo>
                    <a:lnTo>
                      <a:pt x="1020" y="1003"/>
                    </a:lnTo>
                    <a:lnTo>
                      <a:pt x="1030" y="1036"/>
                    </a:lnTo>
                    <a:lnTo>
                      <a:pt x="1043" y="1078"/>
                    </a:lnTo>
                    <a:lnTo>
                      <a:pt x="1051" y="1123"/>
                    </a:lnTo>
                    <a:lnTo>
                      <a:pt x="1038" y="1142"/>
                    </a:lnTo>
                    <a:lnTo>
                      <a:pt x="1020" y="1128"/>
                    </a:lnTo>
                    <a:lnTo>
                      <a:pt x="1024" y="1106"/>
                    </a:lnTo>
                    <a:lnTo>
                      <a:pt x="1014" y="1056"/>
                    </a:lnTo>
                    <a:lnTo>
                      <a:pt x="1003" y="1048"/>
                    </a:lnTo>
                    <a:lnTo>
                      <a:pt x="995" y="1017"/>
                    </a:lnTo>
                    <a:lnTo>
                      <a:pt x="979" y="1017"/>
                    </a:lnTo>
                    <a:lnTo>
                      <a:pt x="962" y="1000"/>
                    </a:lnTo>
                    <a:lnTo>
                      <a:pt x="942" y="1006"/>
                    </a:lnTo>
                    <a:lnTo>
                      <a:pt x="925" y="995"/>
                    </a:lnTo>
                    <a:lnTo>
                      <a:pt x="903" y="1009"/>
                    </a:lnTo>
                    <a:lnTo>
                      <a:pt x="865" y="997"/>
                    </a:lnTo>
                    <a:lnTo>
                      <a:pt x="890" y="1034"/>
                    </a:lnTo>
                    <a:lnTo>
                      <a:pt x="859" y="1031"/>
                    </a:lnTo>
                    <a:lnTo>
                      <a:pt x="837" y="1003"/>
                    </a:lnTo>
                    <a:lnTo>
                      <a:pt x="799" y="1003"/>
                    </a:lnTo>
                    <a:lnTo>
                      <a:pt x="804" y="1048"/>
                    </a:lnTo>
                    <a:lnTo>
                      <a:pt x="775" y="1034"/>
                    </a:lnTo>
                    <a:lnTo>
                      <a:pt x="760" y="1078"/>
                    </a:lnTo>
                    <a:lnTo>
                      <a:pt x="771" y="1098"/>
                    </a:lnTo>
                    <a:lnTo>
                      <a:pt x="760" y="1151"/>
                    </a:lnTo>
                    <a:lnTo>
                      <a:pt x="773" y="1212"/>
                    </a:lnTo>
                    <a:lnTo>
                      <a:pt x="789" y="1254"/>
                    </a:lnTo>
                    <a:lnTo>
                      <a:pt x="806" y="1293"/>
                    </a:lnTo>
                    <a:lnTo>
                      <a:pt x="859" y="1290"/>
                    </a:lnTo>
                    <a:lnTo>
                      <a:pt x="880" y="1282"/>
                    </a:lnTo>
                    <a:lnTo>
                      <a:pt x="884" y="1254"/>
                    </a:lnTo>
                    <a:lnTo>
                      <a:pt x="872" y="1231"/>
                    </a:lnTo>
                    <a:lnTo>
                      <a:pt x="874" y="1212"/>
                    </a:lnTo>
                    <a:lnTo>
                      <a:pt x="907" y="1217"/>
                    </a:lnTo>
                    <a:lnTo>
                      <a:pt x="940" y="1206"/>
                    </a:lnTo>
                    <a:lnTo>
                      <a:pt x="940" y="1231"/>
                    </a:lnTo>
                    <a:lnTo>
                      <a:pt x="931" y="1268"/>
                    </a:lnTo>
                    <a:lnTo>
                      <a:pt x="915" y="1295"/>
                    </a:lnTo>
                    <a:lnTo>
                      <a:pt x="911" y="1334"/>
                    </a:lnTo>
                    <a:lnTo>
                      <a:pt x="933" y="1351"/>
                    </a:lnTo>
                    <a:lnTo>
                      <a:pt x="962" y="1346"/>
                    </a:lnTo>
                    <a:lnTo>
                      <a:pt x="979" y="1360"/>
                    </a:lnTo>
                    <a:lnTo>
                      <a:pt x="995" y="1354"/>
                    </a:lnTo>
                    <a:lnTo>
                      <a:pt x="1001" y="1379"/>
                    </a:lnTo>
                    <a:lnTo>
                      <a:pt x="987" y="1415"/>
                    </a:lnTo>
                    <a:lnTo>
                      <a:pt x="999" y="1438"/>
                    </a:lnTo>
                    <a:lnTo>
                      <a:pt x="1001" y="1482"/>
                    </a:lnTo>
                    <a:lnTo>
                      <a:pt x="1020" y="1513"/>
                    </a:lnTo>
                    <a:lnTo>
                      <a:pt x="1045" y="1521"/>
                    </a:lnTo>
                    <a:lnTo>
                      <a:pt x="1063" y="1513"/>
                    </a:lnTo>
                    <a:lnTo>
                      <a:pt x="1071" y="1516"/>
                    </a:lnTo>
                    <a:lnTo>
                      <a:pt x="1104" y="1516"/>
                    </a:lnTo>
                    <a:lnTo>
                      <a:pt x="1133" y="1518"/>
                    </a:lnTo>
                    <a:lnTo>
                      <a:pt x="1141" y="1499"/>
                    </a:lnTo>
                    <a:lnTo>
                      <a:pt x="1115" y="1532"/>
                    </a:lnTo>
                    <a:lnTo>
                      <a:pt x="1098" y="1529"/>
                    </a:lnTo>
                    <a:lnTo>
                      <a:pt x="1080" y="1532"/>
                    </a:lnTo>
                    <a:lnTo>
                      <a:pt x="1045" y="1549"/>
                    </a:lnTo>
                    <a:lnTo>
                      <a:pt x="1016" y="1527"/>
                    </a:lnTo>
                    <a:lnTo>
                      <a:pt x="989" y="1513"/>
                    </a:lnTo>
                    <a:lnTo>
                      <a:pt x="977" y="1516"/>
                    </a:lnTo>
                    <a:lnTo>
                      <a:pt x="979" y="1496"/>
                    </a:lnTo>
                    <a:lnTo>
                      <a:pt x="977" y="1465"/>
                    </a:lnTo>
                    <a:lnTo>
                      <a:pt x="954" y="1438"/>
                    </a:lnTo>
                    <a:lnTo>
                      <a:pt x="905" y="1421"/>
                    </a:lnTo>
                    <a:lnTo>
                      <a:pt x="898" y="1410"/>
                    </a:lnTo>
                    <a:lnTo>
                      <a:pt x="884" y="1412"/>
                    </a:lnTo>
                    <a:lnTo>
                      <a:pt x="870" y="1399"/>
                    </a:lnTo>
                    <a:lnTo>
                      <a:pt x="853" y="1385"/>
                    </a:lnTo>
                    <a:lnTo>
                      <a:pt x="830" y="1346"/>
                    </a:lnTo>
                    <a:lnTo>
                      <a:pt x="802" y="1334"/>
                    </a:lnTo>
                    <a:lnTo>
                      <a:pt x="787" y="1360"/>
                    </a:lnTo>
                    <a:lnTo>
                      <a:pt x="769" y="1340"/>
                    </a:lnTo>
                    <a:lnTo>
                      <a:pt x="748" y="1340"/>
                    </a:lnTo>
                    <a:lnTo>
                      <a:pt x="705" y="1326"/>
                    </a:lnTo>
                    <a:lnTo>
                      <a:pt x="628" y="1259"/>
                    </a:lnTo>
                    <a:lnTo>
                      <a:pt x="622" y="1190"/>
                    </a:lnTo>
                    <a:lnTo>
                      <a:pt x="614" y="1162"/>
                    </a:lnTo>
                    <a:lnTo>
                      <a:pt x="600" y="1142"/>
                    </a:lnTo>
                    <a:lnTo>
                      <a:pt x="583" y="1103"/>
                    </a:lnTo>
                    <a:lnTo>
                      <a:pt x="501" y="970"/>
                    </a:lnTo>
                    <a:lnTo>
                      <a:pt x="501" y="1020"/>
                    </a:lnTo>
                    <a:lnTo>
                      <a:pt x="552" y="1109"/>
                    </a:lnTo>
                    <a:lnTo>
                      <a:pt x="573" y="1184"/>
                    </a:lnTo>
                    <a:lnTo>
                      <a:pt x="542" y="1167"/>
                    </a:lnTo>
                    <a:lnTo>
                      <a:pt x="536" y="1123"/>
                    </a:lnTo>
                    <a:lnTo>
                      <a:pt x="495" y="1095"/>
                    </a:lnTo>
                    <a:lnTo>
                      <a:pt x="519" y="1078"/>
                    </a:lnTo>
                    <a:lnTo>
                      <a:pt x="464" y="1031"/>
                    </a:lnTo>
                    <a:lnTo>
                      <a:pt x="486" y="1003"/>
                    </a:lnTo>
                    <a:lnTo>
                      <a:pt x="466" y="947"/>
                    </a:lnTo>
                    <a:lnTo>
                      <a:pt x="400" y="830"/>
                    </a:lnTo>
                    <a:lnTo>
                      <a:pt x="392" y="763"/>
                    </a:lnTo>
                    <a:lnTo>
                      <a:pt x="396" y="713"/>
                    </a:lnTo>
                    <a:lnTo>
                      <a:pt x="414" y="657"/>
                    </a:lnTo>
                    <a:lnTo>
                      <a:pt x="414" y="602"/>
                    </a:lnTo>
                    <a:lnTo>
                      <a:pt x="400" y="568"/>
                    </a:lnTo>
                    <a:lnTo>
                      <a:pt x="437" y="557"/>
                    </a:lnTo>
                    <a:lnTo>
                      <a:pt x="392" y="490"/>
                    </a:lnTo>
                    <a:lnTo>
                      <a:pt x="394" y="460"/>
                    </a:lnTo>
                    <a:lnTo>
                      <a:pt x="375" y="418"/>
                    </a:lnTo>
                    <a:lnTo>
                      <a:pt x="383" y="393"/>
                    </a:lnTo>
                    <a:lnTo>
                      <a:pt x="369" y="379"/>
                    </a:lnTo>
                    <a:lnTo>
                      <a:pt x="367" y="351"/>
                    </a:lnTo>
                    <a:lnTo>
                      <a:pt x="354" y="329"/>
                    </a:lnTo>
                    <a:lnTo>
                      <a:pt x="369" y="309"/>
                    </a:lnTo>
                    <a:lnTo>
                      <a:pt x="348" y="295"/>
                    </a:lnTo>
                    <a:lnTo>
                      <a:pt x="330" y="315"/>
                    </a:lnTo>
                    <a:lnTo>
                      <a:pt x="305" y="276"/>
                    </a:lnTo>
                    <a:lnTo>
                      <a:pt x="278" y="265"/>
                    </a:lnTo>
                    <a:lnTo>
                      <a:pt x="239" y="265"/>
                    </a:lnTo>
                    <a:lnTo>
                      <a:pt x="214" y="301"/>
                    </a:lnTo>
                    <a:lnTo>
                      <a:pt x="202" y="290"/>
                    </a:lnTo>
                    <a:lnTo>
                      <a:pt x="223" y="242"/>
                    </a:lnTo>
                    <a:lnTo>
                      <a:pt x="204" y="251"/>
                    </a:lnTo>
                    <a:lnTo>
                      <a:pt x="165" y="301"/>
                    </a:lnTo>
                    <a:lnTo>
                      <a:pt x="124" y="345"/>
                    </a:lnTo>
                    <a:lnTo>
                      <a:pt x="87" y="357"/>
                    </a:lnTo>
                    <a:lnTo>
                      <a:pt x="25" y="401"/>
                    </a:lnTo>
                    <a:lnTo>
                      <a:pt x="0" y="398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0" name="Freeform 36"/>
              <p:cNvSpPr>
                <a:spLocks/>
              </p:cNvSpPr>
              <p:nvPr/>
            </p:nvSpPr>
            <p:spPr bwMode="auto">
              <a:xfrm>
                <a:off x="994" y="615"/>
                <a:ext cx="429" cy="408"/>
              </a:xfrm>
              <a:custGeom>
                <a:avLst/>
                <a:gdLst>
                  <a:gd name="T0" fmla="*/ 0 w 429"/>
                  <a:gd name="T1" fmla="*/ 84 h 408"/>
                  <a:gd name="T2" fmla="*/ 10 w 429"/>
                  <a:gd name="T3" fmla="*/ 53 h 408"/>
                  <a:gd name="T4" fmla="*/ 10 w 429"/>
                  <a:gd name="T5" fmla="*/ 31 h 408"/>
                  <a:gd name="T6" fmla="*/ 25 w 429"/>
                  <a:gd name="T7" fmla="*/ 0 h 408"/>
                  <a:gd name="T8" fmla="*/ 103 w 429"/>
                  <a:gd name="T9" fmla="*/ 20 h 408"/>
                  <a:gd name="T10" fmla="*/ 236 w 429"/>
                  <a:gd name="T11" fmla="*/ 56 h 408"/>
                  <a:gd name="T12" fmla="*/ 289 w 429"/>
                  <a:gd name="T13" fmla="*/ 86 h 408"/>
                  <a:gd name="T14" fmla="*/ 358 w 429"/>
                  <a:gd name="T15" fmla="*/ 114 h 408"/>
                  <a:gd name="T16" fmla="*/ 393 w 429"/>
                  <a:gd name="T17" fmla="*/ 167 h 408"/>
                  <a:gd name="T18" fmla="*/ 428 w 429"/>
                  <a:gd name="T19" fmla="*/ 192 h 408"/>
                  <a:gd name="T20" fmla="*/ 414 w 429"/>
                  <a:gd name="T21" fmla="*/ 212 h 408"/>
                  <a:gd name="T22" fmla="*/ 414 w 429"/>
                  <a:gd name="T23" fmla="*/ 237 h 408"/>
                  <a:gd name="T24" fmla="*/ 401 w 429"/>
                  <a:gd name="T25" fmla="*/ 243 h 408"/>
                  <a:gd name="T26" fmla="*/ 389 w 429"/>
                  <a:gd name="T27" fmla="*/ 265 h 408"/>
                  <a:gd name="T28" fmla="*/ 401 w 429"/>
                  <a:gd name="T29" fmla="*/ 287 h 408"/>
                  <a:gd name="T30" fmla="*/ 399 w 429"/>
                  <a:gd name="T31" fmla="*/ 304 h 408"/>
                  <a:gd name="T32" fmla="*/ 385 w 429"/>
                  <a:gd name="T33" fmla="*/ 326 h 408"/>
                  <a:gd name="T34" fmla="*/ 387 w 429"/>
                  <a:gd name="T35" fmla="*/ 348 h 408"/>
                  <a:gd name="T36" fmla="*/ 411 w 429"/>
                  <a:gd name="T37" fmla="*/ 371 h 408"/>
                  <a:gd name="T38" fmla="*/ 413 w 429"/>
                  <a:gd name="T39" fmla="*/ 393 h 408"/>
                  <a:gd name="T40" fmla="*/ 407 w 429"/>
                  <a:gd name="T41" fmla="*/ 404 h 408"/>
                  <a:gd name="T42" fmla="*/ 383 w 429"/>
                  <a:gd name="T43" fmla="*/ 407 h 408"/>
                  <a:gd name="T44" fmla="*/ 366 w 429"/>
                  <a:gd name="T45" fmla="*/ 396 h 408"/>
                  <a:gd name="T46" fmla="*/ 347 w 429"/>
                  <a:gd name="T47" fmla="*/ 368 h 408"/>
                  <a:gd name="T48" fmla="*/ 339 w 429"/>
                  <a:gd name="T49" fmla="*/ 368 h 408"/>
                  <a:gd name="T50" fmla="*/ 329 w 429"/>
                  <a:gd name="T51" fmla="*/ 357 h 408"/>
                  <a:gd name="T52" fmla="*/ 320 w 429"/>
                  <a:gd name="T53" fmla="*/ 323 h 408"/>
                  <a:gd name="T54" fmla="*/ 308 w 429"/>
                  <a:gd name="T55" fmla="*/ 312 h 408"/>
                  <a:gd name="T56" fmla="*/ 283 w 429"/>
                  <a:gd name="T57" fmla="*/ 295 h 408"/>
                  <a:gd name="T58" fmla="*/ 261 w 429"/>
                  <a:gd name="T59" fmla="*/ 284 h 408"/>
                  <a:gd name="T60" fmla="*/ 230 w 429"/>
                  <a:gd name="T61" fmla="*/ 254 h 408"/>
                  <a:gd name="T62" fmla="*/ 217 w 429"/>
                  <a:gd name="T63" fmla="*/ 231 h 408"/>
                  <a:gd name="T64" fmla="*/ 219 w 429"/>
                  <a:gd name="T65" fmla="*/ 215 h 408"/>
                  <a:gd name="T66" fmla="*/ 232 w 429"/>
                  <a:gd name="T67" fmla="*/ 201 h 408"/>
                  <a:gd name="T68" fmla="*/ 221 w 429"/>
                  <a:gd name="T69" fmla="*/ 184 h 408"/>
                  <a:gd name="T70" fmla="*/ 209 w 429"/>
                  <a:gd name="T71" fmla="*/ 192 h 408"/>
                  <a:gd name="T72" fmla="*/ 190 w 429"/>
                  <a:gd name="T73" fmla="*/ 167 h 408"/>
                  <a:gd name="T74" fmla="*/ 186 w 429"/>
                  <a:gd name="T75" fmla="*/ 181 h 408"/>
                  <a:gd name="T76" fmla="*/ 168 w 429"/>
                  <a:gd name="T77" fmla="*/ 181 h 408"/>
                  <a:gd name="T78" fmla="*/ 165 w 429"/>
                  <a:gd name="T79" fmla="*/ 170 h 408"/>
                  <a:gd name="T80" fmla="*/ 165 w 429"/>
                  <a:gd name="T81" fmla="*/ 151 h 408"/>
                  <a:gd name="T82" fmla="*/ 157 w 429"/>
                  <a:gd name="T83" fmla="*/ 139 h 408"/>
                  <a:gd name="T84" fmla="*/ 145 w 429"/>
                  <a:gd name="T85" fmla="*/ 142 h 408"/>
                  <a:gd name="T86" fmla="*/ 130 w 429"/>
                  <a:gd name="T87" fmla="*/ 112 h 408"/>
                  <a:gd name="T88" fmla="*/ 118 w 429"/>
                  <a:gd name="T89" fmla="*/ 109 h 408"/>
                  <a:gd name="T90" fmla="*/ 101 w 429"/>
                  <a:gd name="T91" fmla="*/ 95 h 408"/>
                  <a:gd name="T92" fmla="*/ 64 w 429"/>
                  <a:gd name="T93" fmla="*/ 98 h 408"/>
                  <a:gd name="T94" fmla="*/ 27 w 429"/>
                  <a:gd name="T95" fmla="*/ 95 h 408"/>
                  <a:gd name="T96" fmla="*/ 0 w 429"/>
                  <a:gd name="T97" fmla="*/ 84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29" h="408">
                    <a:moveTo>
                      <a:pt x="0" y="84"/>
                    </a:moveTo>
                    <a:lnTo>
                      <a:pt x="10" y="53"/>
                    </a:lnTo>
                    <a:lnTo>
                      <a:pt x="10" y="31"/>
                    </a:lnTo>
                    <a:lnTo>
                      <a:pt x="25" y="0"/>
                    </a:lnTo>
                    <a:lnTo>
                      <a:pt x="103" y="20"/>
                    </a:lnTo>
                    <a:lnTo>
                      <a:pt x="236" y="56"/>
                    </a:lnTo>
                    <a:lnTo>
                      <a:pt x="289" y="86"/>
                    </a:lnTo>
                    <a:lnTo>
                      <a:pt x="358" y="114"/>
                    </a:lnTo>
                    <a:lnTo>
                      <a:pt x="393" y="167"/>
                    </a:lnTo>
                    <a:lnTo>
                      <a:pt x="428" y="192"/>
                    </a:lnTo>
                    <a:lnTo>
                      <a:pt x="414" y="212"/>
                    </a:lnTo>
                    <a:lnTo>
                      <a:pt x="414" y="237"/>
                    </a:lnTo>
                    <a:lnTo>
                      <a:pt x="401" y="243"/>
                    </a:lnTo>
                    <a:lnTo>
                      <a:pt x="389" y="265"/>
                    </a:lnTo>
                    <a:lnTo>
                      <a:pt x="401" y="287"/>
                    </a:lnTo>
                    <a:lnTo>
                      <a:pt x="399" y="304"/>
                    </a:lnTo>
                    <a:lnTo>
                      <a:pt x="385" y="326"/>
                    </a:lnTo>
                    <a:lnTo>
                      <a:pt x="387" y="348"/>
                    </a:lnTo>
                    <a:lnTo>
                      <a:pt x="411" y="371"/>
                    </a:lnTo>
                    <a:lnTo>
                      <a:pt x="413" y="393"/>
                    </a:lnTo>
                    <a:lnTo>
                      <a:pt x="407" y="404"/>
                    </a:lnTo>
                    <a:lnTo>
                      <a:pt x="383" y="407"/>
                    </a:lnTo>
                    <a:lnTo>
                      <a:pt x="366" y="396"/>
                    </a:lnTo>
                    <a:lnTo>
                      <a:pt x="347" y="368"/>
                    </a:lnTo>
                    <a:lnTo>
                      <a:pt x="339" y="368"/>
                    </a:lnTo>
                    <a:lnTo>
                      <a:pt x="329" y="357"/>
                    </a:lnTo>
                    <a:lnTo>
                      <a:pt x="320" y="323"/>
                    </a:lnTo>
                    <a:lnTo>
                      <a:pt x="308" y="312"/>
                    </a:lnTo>
                    <a:lnTo>
                      <a:pt x="283" y="295"/>
                    </a:lnTo>
                    <a:lnTo>
                      <a:pt x="261" y="284"/>
                    </a:lnTo>
                    <a:lnTo>
                      <a:pt x="230" y="254"/>
                    </a:lnTo>
                    <a:lnTo>
                      <a:pt x="217" y="231"/>
                    </a:lnTo>
                    <a:lnTo>
                      <a:pt x="219" y="215"/>
                    </a:lnTo>
                    <a:lnTo>
                      <a:pt x="232" y="201"/>
                    </a:lnTo>
                    <a:lnTo>
                      <a:pt x="221" y="184"/>
                    </a:lnTo>
                    <a:lnTo>
                      <a:pt x="209" y="192"/>
                    </a:lnTo>
                    <a:lnTo>
                      <a:pt x="190" y="167"/>
                    </a:lnTo>
                    <a:lnTo>
                      <a:pt x="186" y="181"/>
                    </a:lnTo>
                    <a:lnTo>
                      <a:pt x="168" y="181"/>
                    </a:lnTo>
                    <a:lnTo>
                      <a:pt x="165" y="170"/>
                    </a:lnTo>
                    <a:lnTo>
                      <a:pt x="165" y="151"/>
                    </a:lnTo>
                    <a:lnTo>
                      <a:pt x="157" y="139"/>
                    </a:lnTo>
                    <a:lnTo>
                      <a:pt x="145" y="142"/>
                    </a:lnTo>
                    <a:lnTo>
                      <a:pt x="130" y="112"/>
                    </a:lnTo>
                    <a:lnTo>
                      <a:pt x="118" y="109"/>
                    </a:lnTo>
                    <a:lnTo>
                      <a:pt x="101" y="95"/>
                    </a:lnTo>
                    <a:lnTo>
                      <a:pt x="64" y="98"/>
                    </a:lnTo>
                    <a:lnTo>
                      <a:pt x="27" y="95"/>
                    </a:lnTo>
                    <a:lnTo>
                      <a:pt x="0" y="84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1" name="Freeform 37"/>
              <p:cNvSpPr>
                <a:spLocks/>
              </p:cNvSpPr>
              <p:nvPr/>
            </p:nvSpPr>
            <p:spPr bwMode="auto">
              <a:xfrm>
                <a:off x="908" y="758"/>
                <a:ext cx="274" cy="210"/>
              </a:xfrm>
              <a:custGeom>
                <a:avLst/>
                <a:gdLst>
                  <a:gd name="T0" fmla="*/ 10 w 274"/>
                  <a:gd name="T1" fmla="*/ 0 h 210"/>
                  <a:gd name="T2" fmla="*/ 0 w 274"/>
                  <a:gd name="T3" fmla="*/ 17 h 210"/>
                  <a:gd name="T4" fmla="*/ 0 w 274"/>
                  <a:gd name="T5" fmla="*/ 36 h 210"/>
                  <a:gd name="T6" fmla="*/ 19 w 274"/>
                  <a:gd name="T7" fmla="*/ 56 h 210"/>
                  <a:gd name="T8" fmla="*/ 31 w 274"/>
                  <a:gd name="T9" fmla="*/ 50 h 210"/>
                  <a:gd name="T10" fmla="*/ 35 w 274"/>
                  <a:gd name="T11" fmla="*/ 59 h 210"/>
                  <a:gd name="T12" fmla="*/ 46 w 274"/>
                  <a:gd name="T13" fmla="*/ 61 h 210"/>
                  <a:gd name="T14" fmla="*/ 54 w 274"/>
                  <a:gd name="T15" fmla="*/ 47 h 210"/>
                  <a:gd name="T16" fmla="*/ 81 w 274"/>
                  <a:gd name="T17" fmla="*/ 50 h 210"/>
                  <a:gd name="T18" fmla="*/ 85 w 274"/>
                  <a:gd name="T19" fmla="*/ 64 h 210"/>
                  <a:gd name="T20" fmla="*/ 94 w 274"/>
                  <a:gd name="T21" fmla="*/ 70 h 210"/>
                  <a:gd name="T22" fmla="*/ 117 w 274"/>
                  <a:gd name="T23" fmla="*/ 67 h 210"/>
                  <a:gd name="T24" fmla="*/ 125 w 274"/>
                  <a:gd name="T25" fmla="*/ 75 h 210"/>
                  <a:gd name="T26" fmla="*/ 137 w 274"/>
                  <a:gd name="T27" fmla="*/ 84 h 210"/>
                  <a:gd name="T28" fmla="*/ 146 w 274"/>
                  <a:gd name="T29" fmla="*/ 100 h 210"/>
                  <a:gd name="T30" fmla="*/ 146 w 274"/>
                  <a:gd name="T31" fmla="*/ 123 h 210"/>
                  <a:gd name="T32" fmla="*/ 138 w 274"/>
                  <a:gd name="T33" fmla="*/ 128 h 210"/>
                  <a:gd name="T34" fmla="*/ 142 w 274"/>
                  <a:gd name="T35" fmla="*/ 137 h 210"/>
                  <a:gd name="T36" fmla="*/ 131 w 274"/>
                  <a:gd name="T37" fmla="*/ 150 h 210"/>
                  <a:gd name="T38" fmla="*/ 131 w 274"/>
                  <a:gd name="T39" fmla="*/ 170 h 210"/>
                  <a:gd name="T40" fmla="*/ 148 w 274"/>
                  <a:gd name="T41" fmla="*/ 173 h 210"/>
                  <a:gd name="T42" fmla="*/ 158 w 274"/>
                  <a:gd name="T43" fmla="*/ 167 h 210"/>
                  <a:gd name="T44" fmla="*/ 161 w 274"/>
                  <a:gd name="T45" fmla="*/ 159 h 210"/>
                  <a:gd name="T46" fmla="*/ 167 w 274"/>
                  <a:gd name="T47" fmla="*/ 167 h 210"/>
                  <a:gd name="T48" fmla="*/ 177 w 274"/>
                  <a:gd name="T49" fmla="*/ 162 h 210"/>
                  <a:gd name="T50" fmla="*/ 198 w 274"/>
                  <a:gd name="T51" fmla="*/ 173 h 210"/>
                  <a:gd name="T52" fmla="*/ 211 w 274"/>
                  <a:gd name="T53" fmla="*/ 192 h 210"/>
                  <a:gd name="T54" fmla="*/ 215 w 274"/>
                  <a:gd name="T55" fmla="*/ 192 h 210"/>
                  <a:gd name="T56" fmla="*/ 217 w 274"/>
                  <a:gd name="T57" fmla="*/ 203 h 210"/>
                  <a:gd name="T58" fmla="*/ 231 w 274"/>
                  <a:gd name="T59" fmla="*/ 209 h 210"/>
                  <a:gd name="T60" fmla="*/ 246 w 274"/>
                  <a:gd name="T61" fmla="*/ 209 h 210"/>
                  <a:gd name="T62" fmla="*/ 236 w 274"/>
                  <a:gd name="T63" fmla="*/ 198 h 210"/>
                  <a:gd name="T64" fmla="*/ 240 w 274"/>
                  <a:gd name="T65" fmla="*/ 187 h 210"/>
                  <a:gd name="T66" fmla="*/ 252 w 274"/>
                  <a:gd name="T67" fmla="*/ 198 h 210"/>
                  <a:gd name="T68" fmla="*/ 265 w 274"/>
                  <a:gd name="T69" fmla="*/ 201 h 210"/>
                  <a:gd name="T70" fmla="*/ 267 w 274"/>
                  <a:gd name="T71" fmla="*/ 184 h 210"/>
                  <a:gd name="T72" fmla="*/ 254 w 274"/>
                  <a:gd name="T73" fmla="*/ 170 h 210"/>
                  <a:gd name="T74" fmla="*/ 244 w 274"/>
                  <a:gd name="T75" fmla="*/ 170 h 210"/>
                  <a:gd name="T76" fmla="*/ 231 w 274"/>
                  <a:gd name="T77" fmla="*/ 156 h 210"/>
                  <a:gd name="T78" fmla="*/ 244 w 274"/>
                  <a:gd name="T79" fmla="*/ 156 h 210"/>
                  <a:gd name="T80" fmla="*/ 254 w 274"/>
                  <a:gd name="T81" fmla="*/ 164 h 210"/>
                  <a:gd name="T82" fmla="*/ 273 w 274"/>
                  <a:gd name="T83" fmla="*/ 164 h 210"/>
                  <a:gd name="T84" fmla="*/ 269 w 274"/>
                  <a:gd name="T85" fmla="*/ 148 h 210"/>
                  <a:gd name="T86" fmla="*/ 252 w 274"/>
                  <a:gd name="T87" fmla="*/ 131 h 210"/>
                  <a:gd name="T88" fmla="*/ 240 w 274"/>
                  <a:gd name="T89" fmla="*/ 128 h 210"/>
                  <a:gd name="T90" fmla="*/ 223 w 274"/>
                  <a:gd name="T91" fmla="*/ 109 h 210"/>
                  <a:gd name="T92" fmla="*/ 202 w 274"/>
                  <a:gd name="T93" fmla="*/ 103 h 210"/>
                  <a:gd name="T94" fmla="*/ 185 w 274"/>
                  <a:gd name="T95" fmla="*/ 95 h 210"/>
                  <a:gd name="T96" fmla="*/ 171 w 274"/>
                  <a:gd name="T97" fmla="*/ 70 h 210"/>
                  <a:gd name="T98" fmla="*/ 161 w 274"/>
                  <a:gd name="T99" fmla="*/ 39 h 210"/>
                  <a:gd name="T100" fmla="*/ 148 w 274"/>
                  <a:gd name="T101" fmla="*/ 39 h 210"/>
                  <a:gd name="T102" fmla="*/ 144 w 274"/>
                  <a:gd name="T103" fmla="*/ 31 h 210"/>
                  <a:gd name="T104" fmla="*/ 137 w 274"/>
                  <a:gd name="T105" fmla="*/ 33 h 210"/>
                  <a:gd name="T106" fmla="*/ 123 w 274"/>
                  <a:gd name="T107" fmla="*/ 20 h 210"/>
                  <a:gd name="T108" fmla="*/ 100 w 274"/>
                  <a:gd name="T109" fmla="*/ 14 h 210"/>
                  <a:gd name="T110" fmla="*/ 90 w 274"/>
                  <a:gd name="T111" fmla="*/ 22 h 210"/>
                  <a:gd name="T112" fmla="*/ 69 w 274"/>
                  <a:gd name="T113" fmla="*/ 14 h 210"/>
                  <a:gd name="T114" fmla="*/ 56 w 274"/>
                  <a:gd name="T115" fmla="*/ 14 h 210"/>
                  <a:gd name="T116" fmla="*/ 50 w 274"/>
                  <a:gd name="T117" fmla="*/ 3 h 210"/>
                  <a:gd name="T118" fmla="*/ 44 w 274"/>
                  <a:gd name="T119" fmla="*/ 0 h 210"/>
                  <a:gd name="T120" fmla="*/ 35 w 274"/>
                  <a:gd name="T121" fmla="*/ 3 h 210"/>
                  <a:gd name="T122" fmla="*/ 10 w 274"/>
                  <a:gd name="T123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4" h="210">
                    <a:moveTo>
                      <a:pt x="10" y="0"/>
                    </a:moveTo>
                    <a:lnTo>
                      <a:pt x="0" y="17"/>
                    </a:lnTo>
                    <a:lnTo>
                      <a:pt x="0" y="36"/>
                    </a:lnTo>
                    <a:lnTo>
                      <a:pt x="19" y="56"/>
                    </a:lnTo>
                    <a:lnTo>
                      <a:pt x="31" y="50"/>
                    </a:lnTo>
                    <a:lnTo>
                      <a:pt x="35" y="59"/>
                    </a:lnTo>
                    <a:lnTo>
                      <a:pt x="46" y="61"/>
                    </a:lnTo>
                    <a:lnTo>
                      <a:pt x="54" y="47"/>
                    </a:lnTo>
                    <a:lnTo>
                      <a:pt x="81" y="50"/>
                    </a:lnTo>
                    <a:lnTo>
                      <a:pt x="85" y="64"/>
                    </a:lnTo>
                    <a:lnTo>
                      <a:pt x="94" y="70"/>
                    </a:lnTo>
                    <a:lnTo>
                      <a:pt x="117" y="67"/>
                    </a:lnTo>
                    <a:lnTo>
                      <a:pt x="125" y="75"/>
                    </a:lnTo>
                    <a:lnTo>
                      <a:pt x="137" y="84"/>
                    </a:lnTo>
                    <a:lnTo>
                      <a:pt x="146" y="100"/>
                    </a:lnTo>
                    <a:lnTo>
                      <a:pt x="146" y="123"/>
                    </a:lnTo>
                    <a:lnTo>
                      <a:pt x="138" y="128"/>
                    </a:lnTo>
                    <a:lnTo>
                      <a:pt x="142" y="137"/>
                    </a:lnTo>
                    <a:lnTo>
                      <a:pt x="131" y="150"/>
                    </a:lnTo>
                    <a:lnTo>
                      <a:pt x="131" y="170"/>
                    </a:lnTo>
                    <a:lnTo>
                      <a:pt x="148" y="173"/>
                    </a:lnTo>
                    <a:lnTo>
                      <a:pt x="158" y="167"/>
                    </a:lnTo>
                    <a:lnTo>
                      <a:pt x="161" y="159"/>
                    </a:lnTo>
                    <a:lnTo>
                      <a:pt x="167" y="167"/>
                    </a:lnTo>
                    <a:lnTo>
                      <a:pt x="177" y="162"/>
                    </a:lnTo>
                    <a:lnTo>
                      <a:pt x="198" y="173"/>
                    </a:lnTo>
                    <a:lnTo>
                      <a:pt x="211" y="192"/>
                    </a:lnTo>
                    <a:lnTo>
                      <a:pt x="215" y="192"/>
                    </a:lnTo>
                    <a:lnTo>
                      <a:pt x="217" y="203"/>
                    </a:lnTo>
                    <a:lnTo>
                      <a:pt x="231" y="209"/>
                    </a:lnTo>
                    <a:lnTo>
                      <a:pt x="246" y="209"/>
                    </a:lnTo>
                    <a:lnTo>
                      <a:pt x="236" y="198"/>
                    </a:lnTo>
                    <a:lnTo>
                      <a:pt x="240" y="187"/>
                    </a:lnTo>
                    <a:lnTo>
                      <a:pt x="252" y="198"/>
                    </a:lnTo>
                    <a:lnTo>
                      <a:pt x="265" y="201"/>
                    </a:lnTo>
                    <a:lnTo>
                      <a:pt x="267" y="184"/>
                    </a:lnTo>
                    <a:lnTo>
                      <a:pt x="254" y="170"/>
                    </a:lnTo>
                    <a:lnTo>
                      <a:pt x="244" y="170"/>
                    </a:lnTo>
                    <a:lnTo>
                      <a:pt x="231" y="156"/>
                    </a:lnTo>
                    <a:lnTo>
                      <a:pt x="244" y="156"/>
                    </a:lnTo>
                    <a:lnTo>
                      <a:pt x="254" y="164"/>
                    </a:lnTo>
                    <a:lnTo>
                      <a:pt x="273" y="164"/>
                    </a:lnTo>
                    <a:lnTo>
                      <a:pt x="269" y="148"/>
                    </a:lnTo>
                    <a:lnTo>
                      <a:pt x="252" y="131"/>
                    </a:lnTo>
                    <a:lnTo>
                      <a:pt x="240" y="128"/>
                    </a:lnTo>
                    <a:lnTo>
                      <a:pt x="223" y="109"/>
                    </a:lnTo>
                    <a:lnTo>
                      <a:pt x="202" y="103"/>
                    </a:lnTo>
                    <a:lnTo>
                      <a:pt x="185" y="95"/>
                    </a:lnTo>
                    <a:lnTo>
                      <a:pt x="171" y="70"/>
                    </a:lnTo>
                    <a:lnTo>
                      <a:pt x="161" y="39"/>
                    </a:lnTo>
                    <a:lnTo>
                      <a:pt x="148" y="39"/>
                    </a:lnTo>
                    <a:lnTo>
                      <a:pt x="144" y="31"/>
                    </a:lnTo>
                    <a:lnTo>
                      <a:pt x="137" y="33"/>
                    </a:lnTo>
                    <a:lnTo>
                      <a:pt x="123" y="20"/>
                    </a:lnTo>
                    <a:lnTo>
                      <a:pt x="100" y="14"/>
                    </a:lnTo>
                    <a:lnTo>
                      <a:pt x="90" y="22"/>
                    </a:lnTo>
                    <a:lnTo>
                      <a:pt x="69" y="14"/>
                    </a:lnTo>
                    <a:lnTo>
                      <a:pt x="56" y="14"/>
                    </a:lnTo>
                    <a:lnTo>
                      <a:pt x="50" y="3"/>
                    </a:lnTo>
                    <a:lnTo>
                      <a:pt x="44" y="0"/>
                    </a:lnTo>
                    <a:lnTo>
                      <a:pt x="35" y="3"/>
                    </a:lnTo>
                    <a:lnTo>
                      <a:pt x="10" y="0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2" name="Freeform 38"/>
              <p:cNvSpPr>
                <a:spLocks/>
              </p:cNvSpPr>
              <p:nvPr/>
            </p:nvSpPr>
            <p:spPr bwMode="auto">
              <a:xfrm>
                <a:off x="1064" y="1925"/>
                <a:ext cx="195" cy="98"/>
              </a:xfrm>
              <a:custGeom>
                <a:avLst/>
                <a:gdLst>
                  <a:gd name="T0" fmla="*/ 0 w 195"/>
                  <a:gd name="T1" fmla="*/ 49 h 98"/>
                  <a:gd name="T2" fmla="*/ 17 w 195"/>
                  <a:gd name="T3" fmla="*/ 20 h 98"/>
                  <a:gd name="T4" fmla="*/ 25 w 195"/>
                  <a:gd name="T5" fmla="*/ 20 h 98"/>
                  <a:gd name="T6" fmla="*/ 38 w 195"/>
                  <a:gd name="T7" fmla="*/ 6 h 98"/>
                  <a:gd name="T8" fmla="*/ 54 w 195"/>
                  <a:gd name="T9" fmla="*/ 6 h 98"/>
                  <a:gd name="T10" fmla="*/ 58 w 195"/>
                  <a:gd name="T11" fmla="*/ 3 h 98"/>
                  <a:gd name="T12" fmla="*/ 63 w 195"/>
                  <a:gd name="T13" fmla="*/ 0 h 98"/>
                  <a:gd name="T14" fmla="*/ 83 w 195"/>
                  <a:gd name="T15" fmla="*/ 17 h 98"/>
                  <a:gd name="T16" fmla="*/ 88 w 195"/>
                  <a:gd name="T17" fmla="*/ 29 h 98"/>
                  <a:gd name="T18" fmla="*/ 92 w 195"/>
                  <a:gd name="T19" fmla="*/ 23 h 98"/>
                  <a:gd name="T20" fmla="*/ 108 w 195"/>
                  <a:gd name="T21" fmla="*/ 34 h 98"/>
                  <a:gd name="T22" fmla="*/ 117 w 195"/>
                  <a:gd name="T23" fmla="*/ 34 h 98"/>
                  <a:gd name="T24" fmla="*/ 125 w 195"/>
                  <a:gd name="T25" fmla="*/ 43 h 98"/>
                  <a:gd name="T26" fmla="*/ 138 w 195"/>
                  <a:gd name="T27" fmla="*/ 49 h 98"/>
                  <a:gd name="T28" fmla="*/ 138 w 195"/>
                  <a:gd name="T29" fmla="*/ 63 h 98"/>
                  <a:gd name="T30" fmla="*/ 163 w 195"/>
                  <a:gd name="T31" fmla="*/ 63 h 98"/>
                  <a:gd name="T32" fmla="*/ 169 w 195"/>
                  <a:gd name="T33" fmla="*/ 77 h 98"/>
                  <a:gd name="T34" fmla="*/ 184 w 195"/>
                  <a:gd name="T35" fmla="*/ 77 h 98"/>
                  <a:gd name="T36" fmla="*/ 194 w 195"/>
                  <a:gd name="T37" fmla="*/ 94 h 98"/>
                  <a:gd name="T38" fmla="*/ 188 w 195"/>
                  <a:gd name="T39" fmla="*/ 97 h 98"/>
                  <a:gd name="T40" fmla="*/ 184 w 195"/>
                  <a:gd name="T41" fmla="*/ 91 h 98"/>
                  <a:gd name="T42" fmla="*/ 182 w 195"/>
                  <a:gd name="T43" fmla="*/ 88 h 98"/>
                  <a:gd name="T44" fmla="*/ 169 w 195"/>
                  <a:gd name="T45" fmla="*/ 91 h 98"/>
                  <a:gd name="T46" fmla="*/ 165 w 195"/>
                  <a:gd name="T47" fmla="*/ 94 h 98"/>
                  <a:gd name="T48" fmla="*/ 154 w 195"/>
                  <a:gd name="T49" fmla="*/ 97 h 98"/>
                  <a:gd name="T50" fmla="*/ 136 w 195"/>
                  <a:gd name="T51" fmla="*/ 97 h 98"/>
                  <a:gd name="T52" fmla="*/ 125 w 195"/>
                  <a:gd name="T53" fmla="*/ 97 h 98"/>
                  <a:gd name="T54" fmla="*/ 125 w 195"/>
                  <a:gd name="T55" fmla="*/ 88 h 98"/>
                  <a:gd name="T56" fmla="*/ 108 w 195"/>
                  <a:gd name="T57" fmla="*/ 66 h 98"/>
                  <a:gd name="T58" fmla="*/ 108 w 195"/>
                  <a:gd name="T59" fmla="*/ 51 h 98"/>
                  <a:gd name="T60" fmla="*/ 88 w 195"/>
                  <a:gd name="T61" fmla="*/ 51 h 98"/>
                  <a:gd name="T62" fmla="*/ 81 w 195"/>
                  <a:gd name="T63" fmla="*/ 43 h 98"/>
                  <a:gd name="T64" fmla="*/ 75 w 195"/>
                  <a:gd name="T65" fmla="*/ 51 h 98"/>
                  <a:gd name="T66" fmla="*/ 69 w 195"/>
                  <a:gd name="T67" fmla="*/ 40 h 98"/>
                  <a:gd name="T68" fmla="*/ 63 w 195"/>
                  <a:gd name="T69" fmla="*/ 40 h 98"/>
                  <a:gd name="T70" fmla="*/ 63 w 195"/>
                  <a:gd name="T71" fmla="*/ 26 h 98"/>
                  <a:gd name="T72" fmla="*/ 58 w 195"/>
                  <a:gd name="T73" fmla="*/ 20 h 98"/>
                  <a:gd name="T74" fmla="*/ 40 w 195"/>
                  <a:gd name="T75" fmla="*/ 23 h 98"/>
                  <a:gd name="T76" fmla="*/ 29 w 195"/>
                  <a:gd name="T77" fmla="*/ 40 h 98"/>
                  <a:gd name="T78" fmla="*/ 15 w 195"/>
                  <a:gd name="T79" fmla="*/ 43 h 98"/>
                  <a:gd name="T80" fmla="*/ 0 w 195"/>
                  <a:gd name="T81" fmla="*/ 49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95" h="98">
                    <a:moveTo>
                      <a:pt x="0" y="49"/>
                    </a:moveTo>
                    <a:lnTo>
                      <a:pt x="17" y="20"/>
                    </a:lnTo>
                    <a:lnTo>
                      <a:pt x="25" y="20"/>
                    </a:lnTo>
                    <a:lnTo>
                      <a:pt x="38" y="6"/>
                    </a:lnTo>
                    <a:lnTo>
                      <a:pt x="54" y="6"/>
                    </a:lnTo>
                    <a:lnTo>
                      <a:pt x="58" y="3"/>
                    </a:lnTo>
                    <a:lnTo>
                      <a:pt x="63" y="0"/>
                    </a:lnTo>
                    <a:lnTo>
                      <a:pt x="83" y="17"/>
                    </a:lnTo>
                    <a:lnTo>
                      <a:pt x="88" y="29"/>
                    </a:lnTo>
                    <a:lnTo>
                      <a:pt x="92" y="23"/>
                    </a:lnTo>
                    <a:lnTo>
                      <a:pt x="108" y="34"/>
                    </a:lnTo>
                    <a:lnTo>
                      <a:pt x="117" y="34"/>
                    </a:lnTo>
                    <a:lnTo>
                      <a:pt x="125" y="43"/>
                    </a:lnTo>
                    <a:lnTo>
                      <a:pt x="138" y="49"/>
                    </a:lnTo>
                    <a:lnTo>
                      <a:pt x="138" y="63"/>
                    </a:lnTo>
                    <a:lnTo>
                      <a:pt x="163" y="63"/>
                    </a:lnTo>
                    <a:lnTo>
                      <a:pt x="169" y="77"/>
                    </a:lnTo>
                    <a:lnTo>
                      <a:pt x="184" y="77"/>
                    </a:lnTo>
                    <a:lnTo>
                      <a:pt x="194" y="94"/>
                    </a:lnTo>
                    <a:lnTo>
                      <a:pt x="188" y="97"/>
                    </a:lnTo>
                    <a:lnTo>
                      <a:pt x="184" y="91"/>
                    </a:lnTo>
                    <a:lnTo>
                      <a:pt x="182" y="88"/>
                    </a:lnTo>
                    <a:lnTo>
                      <a:pt x="169" y="91"/>
                    </a:lnTo>
                    <a:lnTo>
                      <a:pt x="165" y="94"/>
                    </a:lnTo>
                    <a:lnTo>
                      <a:pt x="154" y="97"/>
                    </a:lnTo>
                    <a:lnTo>
                      <a:pt x="136" y="97"/>
                    </a:lnTo>
                    <a:lnTo>
                      <a:pt x="125" y="97"/>
                    </a:lnTo>
                    <a:lnTo>
                      <a:pt x="125" y="88"/>
                    </a:lnTo>
                    <a:lnTo>
                      <a:pt x="108" y="66"/>
                    </a:lnTo>
                    <a:lnTo>
                      <a:pt x="108" y="51"/>
                    </a:lnTo>
                    <a:lnTo>
                      <a:pt x="88" y="51"/>
                    </a:lnTo>
                    <a:lnTo>
                      <a:pt x="81" y="43"/>
                    </a:lnTo>
                    <a:lnTo>
                      <a:pt x="75" y="51"/>
                    </a:lnTo>
                    <a:lnTo>
                      <a:pt x="69" y="40"/>
                    </a:lnTo>
                    <a:lnTo>
                      <a:pt x="63" y="40"/>
                    </a:lnTo>
                    <a:lnTo>
                      <a:pt x="63" y="26"/>
                    </a:lnTo>
                    <a:lnTo>
                      <a:pt x="58" y="20"/>
                    </a:lnTo>
                    <a:lnTo>
                      <a:pt x="40" y="23"/>
                    </a:lnTo>
                    <a:lnTo>
                      <a:pt x="29" y="40"/>
                    </a:lnTo>
                    <a:lnTo>
                      <a:pt x="15" y="43"/>
                    </a:lnTo>
                    <a:lnTo>
                      <a:pt x="0" y="49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3" name="Freeform 39"/>
              <p:cNvSpPr>
                <a:spLocks/>
              </p:cNvSpPr>
              <p:nvPr/>
            </p:nvSpPr>
            <p:spPr bwMode="auto">
              <a:xfrm>
                <a:off x="1234" y="1995"/>
                <a:ext cx="129" cy="83"/>
              </a:xfrm>
              <a:custGeom>
                <a:avLst/>
                <a:gdLst>
                  <a:gd name="T0" fmla="*/ 0 w 129"/>
                  <a:gd name="T1" fmla="*/ 62 h 83"/>
                  <a:gd name="T2" fmla="*/ 12 w 129"/>
                  <a:gd name="T3" fmla="*/ 65 h 83"/>
                  <a:gd name="T4" fmla="*/ 40 w 129"/>
                  <a:gd name="T5" fmla="*/ 62 h 83"/>
                  <a:gd name="T6" fmla="*/ 52 w 129"/>
                  <a:gd name="T7" fmla="*/ 79 h 83"/>
                  <a:gd name="T8" fmla="*/ 68 w 129"/>
                  <a:gd name="T9" fmla="*/ 82 h 83"/>
                  <a:gd name="T10" fmla="*/ 76 w 129"/>
                  <a:gd name="T11" fmla="*/ 62 h 83"/>
                  <a:gd name="T12" fmla="*/ 72 w 129"/>
                  <a:gd name="T13" fmla="*/ 57 h 83"/>
                  <a:gd name="T14" fmla="*/ 80 w 129"/>
                  <a:gd name="T15" fmla="*/ 48 h 83"/>
                  <a:gd name="T16" fmla="*/ 96 w 129"/>
                  <a:gd name="T17" fmla="*/ 62 h 83"/>
                  <a:gd name="T18" fmla="*/ 108 w 129"/>
                  <a:gd name="T19" fmla="*/ 62 h 83"/>
                  <a:gd name="T20" fmla="*/ 108 w 129"/>
                  <a:gd name="T21" fmla="*/ 54 h 83"/>
                  <a:gd name="T22" fmla="*/ 116 w 129"/>
                  <a:gd name="T23" fmla="*/ 54 h 83"/>
                  <a:gd name="T24" fmla="*/ 128 w 129"/>
                  <a:gd name="T25" fmla="*/ 40 h 83"/>
                  <a:gd name="T26" fmla="*/ 120 w 129"/>
                  <a:gd name="T27" fmla="*/ 37 h 83"/>
                  <a:gd name="T28" fmla="*/ 120 w 129"/>
                  <a:gd name="T29" fmla="*/ 23 h 83"/>
                  <a:gd name="T30" fmla="*/ 120 w 129"/>
                  <a:gd name="T31" fmla="*/ 11 h 83"/>
                  <a:gd name="T32" fmla="*/ 102 w 129"/>
                  <a:gd name="T33" fmla="*/ 8 h 83"/>
                  <a:gd name="T34" fmla="*/ 88 w 129"/>
                  <a:gd name="T35" fmla="*/ 11 h 83"/>
                  <a:gd name="T36" fmla="*/ 76 w 129"/>
                  <a:gd name="T37" fmla="*/ 11 h 83"/>
                  <a:gd name="T38" fmla="*/ 58 w 129"/>
                  <a:gd name="T39" fmla="*/ 8 h 83"/>
                  <a:gd name="T40" fmla="*/ 44 w 129"/>
                  <a:gd name="T41" fmla="*/ 0 h 83"/>
                  <a:gd name="T42" fmla="*/ 40 w 129"/>
                  <a:gd name="T43" fmla="*/ 8 h 83"/>
                  <a:gd name="T44" fmla="*/ 38 w 129"/>
                  <a:gd name="T45" fmla="*/ 25 h 83"/>
                  <a:gd name="T46" fmla="*/ 24 w 129"/>
                  <a:gd name="T47" fmla="*/ 25 h 83"/>
                  <a:gd name="T48" fmla="*/ 20 w 129"/>
                  <a:gd name="T49" fmla="*/ 40 h 83"/>
                  <a:gd name="T50" fmla="*/ 12 w 129"/>
                  <a:gd name="T51" fmla="*/ 45 h 83"/>
                  <a:gd name="T52" fmla="*/ 0 w 129"/>
                  <a:gd name="T53" fmla="*/ 6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9" h="83">
                    <a:moveTo>
                      <a:pt x="0" y="62"/>
                    </a:moveTo>
                    <a:lnTo>
                      <a:pt x="12" y="65"/>
                    </a:lnTo>
                    <a:lnTo>
                      <a:pt x="40" y="62"/>
                    </a:lnTo>
                    <a:lnTo>
                      <a:pt x="52" y="79"/>
                    </a:lnTo>
                    <a:lnTo>
                      <a:pt x="68" y="82"/>
                    </a:lnTo>
                    <a:lnTo>
                      <a:pt x="76" y="62"/>
                    </a:lnTo>
                    <a:lnTo>
                      <a:pt x="72" y="57"/>
                    </a:lnTo>
                    <a:lnTo>
                      <a:pt x="80" y="48"/>
                    </a:lnTo>
                    <a:lnTo>
                      <a:pt x="96" y="62"/>
                    </a:lnTo>
                    <a:lnTo>
                      <a:pt x="108" y="62"/>
                    </a:lnTo>
                    <a:lnTo>
                      <a:pt x="108" y="54"/>
                    </a:lnTo>
                    <a:lnTo>
                      <a:pt x="116" y="54"/>
                    </a:lnTo>
                    <a:lnTo>
                      <a:pt x="128" y="40"/>
                    </a:lnTo>
                    <a:lnTo>
                      <a:pt x="120" y="37"/>
                    </a:lnTo>
                    <a:lnTo>
                      <a:pt x="120" y="23"/>
                    </a:lnTo>
                    <a:lnTo>
                      <a:pt x="120" y="11"/>
                    </a:lnTo>
                    <a:lnTo>
                      <a:pt x="102" y="8"/>
                    </a:lnTo>
                    <a:lnTo>
                      <a:pt x="88" y="11"/>
                    </a:lnTo>
                    <a:lnTo>
                      <a:pt x="76" y="11"/>
                    </a:lnTo>
                    <a:lnTo>
                      <a:pt x="58" y="8"/>
                    </a:lnTo>
                    <a:lnTo>
                      <a:pt x="44" y="0"/>
                    </a:lnTo>
                    <a:lnTo>
                      <a:pt x="40" y="8"/>
                    </a:lnTo>
                    <a:lnTo>
                      <a:pt x="38" y="25"/>
                    </a:lnTo>
                    <a:lnTo>
                      <a:pt x="24" y="25"/>
                    </a:lnTo>
                    <a:lnTo>
                      <a:pt x="20" y="40"/>
                    </a:lnTo>
                    <a:lnTo>
                      <a:pt x="12" y="45"/>
                    </a:lnTo>
                    <a:lnTo>
                      <a:pt x="0" y="62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1064" name="Freeform 40"/>
              <p:cNvSpPr>
                <a:spLocks/>
              </p:cNvSpPr>
              <p:nvPr/>
            </p:nvSpPr>
            <p:spPr bwMode="auto">
              <a:xfrm>
                <a:off x="1155" y="2228"/>
                <a:ext cx="802" cy="1698"/>
              </a:xfrm>
              <a:custGeom>
                <a:avLst/>
                <a:gdLst>
                  <a:gd name="T0" fmla="*/ 92 w 802"/>
                  <a:gd name="T1" fmla="*/ 28 h 1698"/>
                  <a:gd name="T2" fmla="*/ 152 w 802"/>
                  <a:gd name="T3" fmla="*/ 3 h 1698"/>
                  <a:gd name="T4" fmla="*/ 127 w 802"/>
                  <a:gd name="T5" fmla="*/ 59 h 1698"/>
                  <a:gd name="T6" fmla="*/ 152 w 802"/>
                  <a:gd name="T7" fmla="*/ 56 h 1698"/>
                  <a:gd name="T8" fmla="*/ 177 w 802"/>
                  <a:gd name="T9" fmla="*/ 53 h 1698"/>
                  <a:gd name="T10" fmla="*/ 212 w 802"/>
                  <a:gd name="T11" fmla="*/ 73 h 1698"/>
                  <a:gd name="T12" fmla="*/ 322 w 802"/>
                  <a:gd name="T13" fmla="*/ 103 h 1698"/>
                  <a:gd name="T14" fmla="*/ 372 w 802"/>
                  <a:gd name="T15" fmla="*/ 134 h 1698"/>
                  <a:gd name="T16" fmla="*/ 437 w 802"/>
                  <a:gd name="T17" fmla="*/ 151 h 1698"/>
                  <a:gd name="T18" fmla="*/ 530 w 802"/>
                  <a:gd name="T19" fmla="*/ 234 h 1698"/>
                  <a:gd name="T20" fmla="*/ 581 w 802"/>
                  <a:gd name="T21" fmla="*/ 338 h 1698"/>
                  <a:gd name="T22" fmla="*/ 780 w 802"/>
                  <a:gd name="T23" fmla="*/ 424 h 1698"/>
                  <a:gd name="T24" fmla="*/ 782 w 802"/>
                  <a:gd name="T25" fmla="*/ 567 h 1698"/>
                  <a:gd name="T26" fmla="*/ 731 w 802"/>
                  <a:gd name="T27" fmla="*/ 642 h 1698"/>
                  <a:gd name="T28" fmla="*/ 723 w 802"/>
                  <a:gd name="T29" fmla="*/ 751 h 1698"/>
                  <a:gd name="T30" fmla="*/ 694 w 802"/>
                  <a:gd name="T31" fmla="*/ 798 h 1698"/>
                  <a:gd name="T32" fmla="*/ 647 w 802"/>
                  <a:gd name="T33" fmla="*/ 879 h 1698"/>
                  <a:gd name="T34" fmla="*/ 579 w 802"/>
                  <a:gd name="T35" fmla="*/ 907 h 1698"/>
                  <a:gd name="T36" fmla="*/ 544 w 802"/>
                  <a:gd name="T37" fmla="*/ 991 h 1698"/>
                  <a:gd name="T38" fmla="*/ 536 w 802"/>
                  <a:gd name="T39" fmla="*/ 1061 h 1698"/>
                  <a:gd name="T40" fmla="*/ 481 w 802"/>
                  <a:gd name="T41" fmla="*/ 1125 h 1698"/>
                  <a:gd name="T42" fmla="*/ 448 w 802"/>
                  <a:gd name="T43" fmla="*/ 1175 h 1698"/>
                  <a:gd name="T44" fmla="*/ 427 w 802"/>
                  <a:gd name="T45" fmla="*/ 1200 h 1698"/>
                  <a:gd name="T46" fmla="*/ 415 w 802"/>
                  <a:gd name="T47" fmla="*/ 1267 h 1698"/>
                  <a:gd name="T48" fmla="*/ 361 w 802"/>
                  <a:gd name="T49" fmla="*/ 1295 h 1698"/>
                  <a:gd name="T50" fmla="*/ 318 w 802"/>
                  <a:gd name="T51" fmla="*/ 1323 h 1698"/>
                  <a:gd name="T52" fmla="*/ 316 w 802"/>
                  <a:gd name="T53" fmla="*/ 1387 h 1698"/>
                  <a:gd name="T54" fmla="*/ 275 w 802"/>
                  <a:gd name="T55" fmla="*/ 1437 h 1698"/>
                  <a:gd name="T56" fmla="*/ 300 w 802"/>
                  <a:gd name="T57" fmla="*/ 1482 h 1698"/>
                  <a:gd name="T58" fmla="*/ 259 w 802"/>
                  <a:gd name="T59" fmla="*/ 1524 h 1698"/>
                  <a:gd name="T60" fmla="*/ 238 w 802"/>
                  <a:gd name="T61" fmla="*/ 1597 h 1698"/>
                  <a:gd name="T62" fmla="*/ 292 w 802"/>
                  <a:gd name="T63" fmla="*/ 1697 h 1698"/>
                  <a:gd name="T64" fmla="*/ 228 w 802"/>
                  <a:gd name="T65" fmla="*/ 1647 h 1698"/>
                  <a:gd name="T66" fmla="*/ 187 w 802"/>
                  <a:gd name="T67" fmla="*/ 1557 h 1698"/>
                  <a:gd name="T68" fmla="*/ 183 w 802"/>
                  <a:gd name="T69" fmla="*/ 1323 h 1698"/>
                  <a:gd name="T70" fmla="*/ 177 w 802"/>
                  <a:gd name="T71" fmla="*/ 1223 h 1698"/>
                  <a:gd name="T72" fmla="*/ 181 w 802"/>
                  <a:gd name="T73" fmla="*/ 1114 h 1698"/>
                  <a:gd name="T74" fmla="*/ 189 w 802"/>
                  <a:gd name="T75" fmla="*/ 1027 h 1698"/>
                  <a:gd name="T76" fmla="*/ 185 w 802"/>
                  <a:gd name="T77" fmla="*/ 888 h 1698"/>
                  <a:gd name="T78" fmla="*/ 191 w 802"/>
                  <a:gd name="T79" fmla="*/ 773 h 1698"/>
                  <a:gd name="T80" fmla="*/ 144 w 802"/>
                  <a:gd name="T81" fmla="*/ 695 h 1698"/>
                  <a:gd name="T82" fmla="*/ 72 w 802"/>
                  <a:gd name="T83" fmla="*/ 634 h 1698"/>
                  <a:gd name="T84" fmla="*/ 47 w 802"/>
                  <a:gd name="T85" fmla="*/ 539 h 1698"/>
                  <a:gd name="T86" fmla="*/ 14 w 802"/>
                  <a:gd name="T87" fmla="*/ 486 h 1698"/>
                  <a:gd name="T88" fmla="*/ 16 w 802"/>
                  <a:gd name="T89" fmla="*/ 396 h 1698"/>
                  <a:gd name="T90" fmla="*/ 8 w 802"/>
                  <a:gd name="T91" fmla="*/ 310 h 1698"/>
                  <a:gd name="T92" fmla="*/ 58 w 802"/>
                  <a:gd name="T93" fmla="*/ 140 h 1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02" h="1698">
                    <a:moveTo>
                      <a:pt x="62" y="75"/>
                    </a:moveTo>
                    <a:lnTo>
                      <a:pt x="72" y="56"/>
                    </a:lnTo>
                    <a:lnTo>
                      <a:pt x="92" y="28"/>
                    </a:lnTo>
                    <a:lnTo>
                      <a:pt x="121" y="11"/>
                    </a:lnTo>
                    <a:lnTo>
                      <a:pt x="136" y="0"/>
                    </a:lnTo>
                    <a:lnTo>
                      <a:pt x="152" y="3"/>
                    </a:lnTo>
                    <a:lnTo>
                      <a:pt x="148" y="17"/>
                    </a:lnTo>
                    <a:lnTo>
                      <a:pt x="131" y="31"/>
                    </a:lnTo>
                    <a:lnTo>
                      <a:pt x="127" y="59"/>
                    </a:lnTo>
                    <a:lnTo>
                      <a:pt x="131" y="81"/>
                    </a:lnTo>
                    <a:lnTo>
                      <a:pt x="146" y="81"/>
                    </a:lnTo>
                    <a:lnTo>
                      <a:pt x="152" y="56"/>
                    </a:lnTo>
                    <a:lnTo>
                      <a:pt x="156" y="31"/>
                    </a:lnTo>
                    <a:lnTo>
                      <a:pt x="166" y="39"/>
                    </a:lnTo>
                    <a:lnTo>
                      <a:pt x="177" y="53"/>
                    </a:lnTo>
                    <a:lnTo>
                      <a:pt x="197" y="47"/>
                    </a:lnTo>
                    <a:lnTo>
                      <a:pt x="209" y="59"/>
                    </a:lnTo>
                    <a:lnTo>
                      <a:pt x="212" y="73"/>
                    </a:lnTo>
                    <a:lnTo>
                      <a:pt x="242" y="67"/>
                    </a:lnTo>
                    <a:lnTo>
                      <a:pt x="300" y="59"/>
                    </a:lnTo>
                    <a:lnTo>
                      <a:pt x="322" y="103"/>
                    </a:lnTo>
                    <a:lnTo>
                      <a:pt x="359" y="126"/>
                    </a:lnTo>
                    <a:lnTo>
                      <a:pt x="357" y="145"/>
                    </a:lnTo>
                    <a:lnTo>
                      <a:pt x="372" y="134"/>
                    </a:lnTo>
                    <a:lnTo>
                      <a:pt x="390" y="134"/>
                    </a:lnTo>
                    <a:lnTo>
                      <a:pt x="411" y="154"/>
                    </a:lnTo>
                    <a:lnTo>
                      <a:pt x="437" y="151"/>
                    </a:lnTo>
                    <a:lnTo>
                      <a:pt x="458" y="154"/>
                    </a:lnTo>
                    <a:lnTo>
                      <a:pt x="493" y="190"/>
                    </a:lnTo>
                    <a:lnTo>
                      <a:pt x="530" y="234"/>
                    </a:lnTo>
                    <a:lnTo>
                      <a:pt x="546" y="285"/>
                    </a:lnTo>
                    <a:lnTo>
                      <a:pt x="536" y="324"/>
                    </a:lnTo>
                    <a:lnTo>
                      <a:pt x="581" y="338"/>
                    </a:lnTo>
                    <a:lnTo>
                      <a:pt x="655" y="357"/>
                    </a:lnTo>
                    <a:lnTo>
                      <a:pt x="731" y="380"/>
                    </a:lnTo>
                    <a:lnTo>
                      <a:pt x="780" y="424"/>
                    </a:lnTo>
                    <a:lnTo>
                      <a:pt x="801" y="466"/>
                    </a:lnTo>
                    <a:lnTo>
                      <a:pt x="801" y="519"/>
                    </a:lnTo>
                    <a:lnTo>
                      <a:pt x="782" y="567"/>
                    </a:lnTo>
                    <a:lnTo>
                      <a:pt x="760" y="592"/>
                    </a:lnTo>
                    <a:lnTo>
                      <a:pt x="746" y="608"/>
                    </a:lnTo>
                    <a:lnTo>
                      <a:pt x="731" y="642"/>
                    </a:lnTo>
                    <a:lnTo>
                      <a:pt x="729" y="673"/>
                    </a:lnTo>
                    <a:lnTo>
                      <a:pt x="731" y="712"/>
                    </a:lnTo>
                    <a:lnTo>
                      <a:pt x="723" y="751"/>
                    </a:lnTo>
                    <a:lnTo>
                      <a:pt x="711" y="759"/>
                    </a:lnTo>
                    <a:lnTo>
                      <a:pt x="707" y="782"/>
                    </a:lnTo>
                    <a:lnTo>
                      <a:pt x="694" y="798"/>
                    </a:lnTo>
                    <a:lnTo>
                      <a:pt x="692" y="818"/>
                    </a:lnTo>
                    <a:lnTo>
                      <a:pt x="674" y="840"/>
                    </a:lnTo>
                    <a:lnTo>
                      <a:pt x="647" y="879"/>
                    </a:lnTo>
                    <a:lnTo>
                      <a:pt x="624" y="890"/>
                    </a:lnTo>
                    <a:lnTo>
                      <a:pt x="608" y="888"/>
                    </a:lnTo>
                    <a:lnTo>
                      <a:pt x="579" y="907"/>
                    </a:lnTo>
                    <a:lnTo>
                      <a:pt x="550" y="952"/>
                    </a:lnTo>
                    <a:lnTo>
                      <a:pt x="544" y="969"/>
                    </a:lnTo>
                    <a:lnTo>
                      <a:pt x="544" y="991"/>
                    </a:lnTo>
                    <a:lnTo>
                      <a:pt x="550" y="1016"/>
                    </a:lnTo>
                    <a:lnTo>
                      <a:pt x="536" y="1041"/>
                    </a:lnTo>
                    <a:lnTo>
                      <a:pt x="536" y="1061"/>
                    </a:lnTo>
                    <a:lnTo>
                      <a:pt x="513" y="1083"/>
                    </a:lnTo>
                    <a:lnTo>
                      <a:pt x="495" y="1100"/>
                    </a:lnTo>
                    <a:lnTo>
                      <a:pt x="481" y="1125"/>
                    </a:lnTo>
                    <a:lnTo>
                      <a:pt x="476" y="1150"/>
                    </a:lnTo>
                    <a:lnTo>
                      <a:pt x="456" y="1181"/>
                    </a:lnTo>
                    <a:lnTo>
                      <a:pt x="448" y="1175"/>
                    </a:lnTo>
                    <a:lnTo>
                      <a:pt x="433" y="1175"/>
                    </a:lnTo>
                    <a:lnTo>
                      <a:pt x="413" y="1186"/>
                    </a:lnTo>
                    <a:lnTo>
                      <a:pt x="427" y="1200"/>
                    </a:lnTo>
                    <a:lnTo>
                      <a:pt x="427" y="1228"/>
                    </a:lnTo>
                    <a:lnTo>
                      <a:pt x="425" y="1250"/>
                    </a:lnTo>
                    <a:lnTo>
                      <a:pt x="415" y="1267"/>
                    </a:lnTo>
                    <a:lnTo>
                      <a:pt x="390" y="1270"/>
                    </a:lnTo>
                    <a:lnTo>
                      <a:pt x="370" y="1278"/>
                    </a:lnTo>
                    <a:lnTo>
                      <a:pt x="361" y="1295"/>
                    </a:lnTo>
                    <a:lnTo>
                      <a:pt x="361" y="1323"/>
                    </a:lnTo>
                    <a:lnTo>
                      <a:pt x="337" y="1326"/>
                    </a:lnTo>
                    <a:lnTo>
                      <a:pt x="318" y="1323"/>
                    </a:lnTo>
                    <a:lnTo>
                      <a:pt x="312" y="1334"/>
                    </a:lnTo>
                    <a:lnTo>
                      <a:pt x="322" y="1345"/>
                    </a:lnTo>
                    <a:lnTo>
                      <a:pt x="316" y="1387"/>
                    </a:lnTo>
                    <a:lnTo>
                      <a:pt x="308" y="1423"/>
                    </a:lnTo>
                    <a:lnTo>
                      <a:pt x="283" y="1423"/>
                    </a:lnTo>
                    <a:lnTo>
                      <a:pt x="275" y="1437"/>
                    </a:lnTo>
                    <a:lnTo>
                      <a:pt x="277" y="1465"/>
                    </a:lnTo>
                    <a:lnTo>
                      <a:pt x="290" y="1465"/>
                    </a:lnTo>
                    <a:lnTo>
                      <a:pt x="300" y="1482"/>
                    </a:lnTo>
                    <a:lnTo>
                      <a:pt x="294" y="1510"/>
                    </a:lnTo>
                    <a:lnTo>
                      <a:pt x="281" y="1513"/>
                    </a:lnTo>
                    <a:lnTo>
                      <a:pt x="259" y="1524"/>
                    </a:lnTo>
                    <a:lnTo>
                      <a:pt x="253" y="1546"/>
                    </a:lnTo>
                    <a:lnTo>
                      <a:pt x="251" y="1580"/>
                    </a:lnTo>
                    <a:lnTo>
                      <a:pt x="238" y="1597"/>
                    </a:lnTo>
                    <a:lnTo>
                      <a:pt x="286" y="1652"/>
                    </a:lnTo>
                    <a:lnTo>
                      <a:pt x="300" y="1680"/>
                    </a:lnTo>
                    <a:lnTo>
                      <a:pt x="292" y="1697"/>
                    </a:lnTo>
                    <a:lnTo>
                      <a:pt x="271" y="1686"/>
                    </a:lnTo>
                    <a:lnTo>
                      <a:pt x="253" y="1664"/>
                    </a:lnTo>
                    <a:lnTo>
                      <a:pt x="228" y="1647"/>
                    </a:lnTo>
                    <a:lnTo>
                      <a:pt x="205" y="1619"/>
                    </a:lnTo>
                    <a:lnTo>
                      <a:pt x="189" y="1585"/>
                    </a:lnTo>
                    <a:lnTo>
                      <a:pt x="187" y="1557"/>
                    </a:lnTo>
                    <a:lnTo>
                      <a:pt x="191" y="1535"/>
                    </a:lnTo>
                    <a:lnTo>
                      <a:pt x="189" y="1354"/>
                    </a:lnTo>
                    <a:lnTo>
                      <a:pt x="183" y="1323"/>
                    </a:lnTo>
                    <a:lnTo>
                      <a:pt x="166" y="1289"/>
                    </a:lnTo>
                    <a:lnTo>
                      <a:pt x="166" y="1259"/>
                    </a:lnTo>
                    <a:lnTo>
                      <a:pt x="177" y="1223"/>
                    </a:lnTo>
                    <a:lnTo>
                      <a:pt x="187" y="1178"/>
                    </a:lnTo>
                    <a:lnTo>
                      <a:pt x="183" y="1133"/>
                    </a:lnTo>
                    <a:lnTo>
                      <a:pt x="181" y="1114"/>
                    </a:lnTo>
                    <a:lnTo>
                      <a:pt x="179" y="1089"/>
                    </a:lnTo>
                    <a:lnTo>
                      <a:pt x="185" y="1077"/>
                    </a:lnTo>
                    <a:lnTo>
                      <a:pt x="189" y="1027"/>
                    </a:lnTo>
                    <a:lnTo>
                      <a:pt x="185" y="1002"/>
                    </a:lnTo>
                    <a:lnTo>
                      <a:pt x="193" y="941"/>
                    </a:lnTo>
                    <a:lnTo>
                      <a:pt x="185" y="888"/>
                    </a:lnTo>
                    <a:lnTo>
                      <a:pt x="191" y="860"/>
                    </a:lnTo>
                    <a:lnTo>
                      <a:pt x="201" y="807"/>
                    </a:lnTo>
                    <a:lnTo>
                      <a:pt x="191" y="773"/>
                    </a:lnTo>
                    <a:lnTo>
                      <a:pt x="172" y="748"/>
                    </a:lnTo>
                    <a:lnTo>
                      <a:pt x="166" y="720"/>
                    </a:lnTo>
                    <a:lnTo>
                      <a:pt x="144" y="695"/>
                    </a:lnTo>
                    <a:lnTo>
                      <a:pt x="121" y="678"/>
                    </a:lnTo>
                    <a:lnTo>
                      <a:pt x="88" y="670"/>
                    </a:lnTo>
                    <a:lnTo>
                      <a:pt x="72" y="634"/>
                    </a:lnTo>
                    <a:lnTo>
                      <a:pt x="51" y="597"/>
                    </a:lnTo>
                    <a:lnTo>
                      <a:pt x="49" y="567"/>
                    </a:lnTo>
                    <a:lnTo>
                      <a:pt x="47" y="539"/>
                    </a:lnTo>
                    <a:lnTo>
                      <a:pt x="41" y="519"/>
                    </a:lnTo>
                    <a:lnTo>
                      <a:pt x="29" y="497"/>
                    </a:lnTo>
                    <a:lnTo>
                      <a:pt x="14" y="486"/>
                    </a:lnTo>
                    <a:lnTo>
                      <a:pt x="2" y="463"/>
                    </a:lnTo>
                    <a:lnTo>
                      <a:pt x="16" y="444"/>
                    </a:lnTo>
                    <a:lnTo>
                      <a:pt x="16" y="396"/>
                    </a:lnTo>
                    <a:lnTo>
                      <a:pt x="8" y="371"/>
                    </a:lnTo>
                    <a:lnTo>
                      <a:pt x="0" y="346"/>
                    </a:lnTo>
                    <a:lnTo>
                      <a:pt x="8" y="310"/>
                    </a:lnTo>
                    <a:lnTo>
                      <a:pt x="39" y="220"/>
                    </a:lnTo>
                    <a:lnTo>
                      <a:pt x="41" y="181"/>
                    </a:lnTo>
                    <a:lnTo>
                      <a:pt x="58" y="140"/>
                    </a:lnTo>
                    <a:lnTo>
                      <a:pt x="58" y="117"/>
                    </a:lnTo>
                    <a:lnTo>
                      <a:pt x="62" y="75"/>
                    </a:ln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rnd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</p:grpSp>
      <p:sp>
        <p:nvSpPr>
          <p:cNvPr id="1067" name="Rectangle 43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609600"/>
            <a:ext cx="8915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itle style</a:t>
            </a:r>
          </a:p>
        </p:txBody>
      </p:sp>
      <p:sp>
        <p:nvSpPr>
          <p:cNvPr id="1068" name="Rectangle 4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198120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 smtClean="0"/>
              <a:t>Click to edit Master text styles</a:t>
            </a:r>
          </a:p>
          <a:p>
            <a:pPr lvl="1"/>
            <a:r>
              <a:rPr lang="en-US" altLang="ko-KR" smtClean="0"/>
              <a:t>Second Level</a:t>
            </a:r>
          </a:p>
          <a:p>
            <a:pPr lvl="2"/>
            <a:r>
              <a:rPr lang="en-US" altLang="ko-KR" smtClean="0"/>
              <a:t>Third Level</a:t>
            </a:r>
          </a:p>
          <a:p>
            <a:pPr lvl="3"/>
            <a:r>
              <a:rPr lang="en-US" altLang="ko-KR" smtClean="0"/>
              <a:t>Fourth Level</a:t>
            </a:r>
          </a:p>
          <a:p>
            <a:pPr lvl="4"/>
            <a:r>
              <a:rPr lang="en-US" altLang="ko-KR" smtClean="0"/>
              <a:t>Fifth Level</a:t>
            </a:r>
          </a:p>
        </p:txBody>
      </p:sp>
      <p:sp>
        <p:nvSpPr>
          <p:cNvPr id="1069" name="Rectangle 45"/>
          <p:cNvSpPr>
            <a:spLocks noChangeArrowheads="1"/>
          </p:cNvSpPr>
          <p:nvPr/>
        </p:nvSpPr>
        <p:spPr bwMode="auto">
          <a:xfrm>
            <a:off x="98027" y="6467740"/>
            <a:ext cx="2446182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>
            <a:spAutoFit/>
          </a:bodyPr>
          <a:lstStyle/>
          <a:p>
            <a:pPr eaLnBrk="0" latinLnBrk="0" hangingPunct="0"/>
            <a:r>
              <a:rPr kumimoji="0" lang="en-US" altLang="ko-KR" sz="1600" b="1" i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esterfield, Mech. Eng.</a:t>
            </a:r>
          </a:p>
        </p:txBody>
      </p:sp>
      <p:sp>
        <p:nvSpPr>
          <p:cNvPr id="1070" name="Rectangle 46"/>
          <p:cNvSpPr>
            <a:spLocks noChangeArrowheads="1"/>
          </p:cNvSpPr>
          <p:nvPr/>
        </p:nvSpPr>
        <p:spPr bwMode="auto">
          <a:xfrm>
            <a:off x="9404018" y="6025933"/>
            <a:ext cx="40395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 anchor="ctr">
            <a:spAutoFit/>
          </a:bodyPr>
          <a:lstStyle/>
          <a:p>
            <a:pPr algn="r" eaLnBrk="0" latinLnBrk="0" hangingPunct="0"/>
            <a:fld id="{898134F9-0B80-452F-B221-89E10ECF4C98}" type="slidenum">
              <a:rPr kumimoji="0" lang="en-US" altLang="ko-KR" sz="1400" smtClean="0">
                <a:solidFill>
                  <a:srgbClr val="FFFFFF"/>
                </a:solidFill>
                <a:latin typeface="Arial" charset="0"/>
                <a:ea typeface="굴림" charset="-127"/>
              </a:rPr>
              <a:pPr algn="r" eaLnBrk="0" latinLnBrk="0" hangingPunct="0"/>
              <a:t>‹#›</a:t>
            </a:fld>
            <a:endParaRPr kumimoji="0" lang="en-US" altLang="ko-KR" sz="1400" smtClean="0">
              <a:solidFill>
                <a:srgbClr val="FFFFFF"/>
              </a:solidFill>
              <a:latin typeface="Arial" charset="0"/>
              <a:ea typeface="굴림" charset="-127"/>
            </a:endParaRPr>
          </a:p>
        </p:txBody>
      </p:sp>
      <p:pic>
        <p:nvPicPr>
          <p:cNvPr id="1071" name="Picture 47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0500" y="6391275"/>
            <a:ext cx="74295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64890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6" r:id="rId1"/>
    <p:sldLayoutId id="2147485007" r:id="rId2"/>
    <p:sldLayoutId id="2147485008" r:id="rId3"/>
    <p:sldLayoutId id="2147485009" r:id="rId4"/>
    <p:sldLayoutId id="2147485010" r:id="rId5"/>
    <p:sldLayoutId id="2147485011" r:id="rId6"/>
    <p:sldLayoutId id="2147485012" r:id="rId7"/>
    <p:sldLayoutId id="2147485013" r:id="rId8"/>
    <p:sldLayoutId id="2147485014" r:id="rId9"/>
    <p:sldLayoutId id="2147485015" r:id="rId10"/>
    <p:sldLayoutId id="2147485016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3200" b="1">
          <a:solidFill>
            <a:srgbClr val="FFFFFF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FFFF"/>
        </a:buClr>
        <a:buSzPct val="100000"/>
        <a:buFont typeface="Wingdings" pitchFamily="2" charset="2"/>
        <a:buChar char="l"/>
        <a:defRPr sz="2800" b="1">
          <a:solidFill>
            <a:schemeClr val="accent2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400" b="1">
          <a:solidFill>
            <a:srgbClr val="FFFFFF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FFFF"/>
        </a:buClr>
        <a:buSzPct val="100000"/>
        <a:buFont typeface="Wingdings" pitchFamily="2" charset="2"/>
        <a:buChar char="l"/>
        <a:defRPr sz="2000" b="1">
          <a:solidFill>
            <a:schemeClr val="accent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l"/>
        <a:defRPr sz="2000" b="1">
          <a:solidFill>
            <a:srgbClr val="FFFFFF"/>
          </a:solidFill>
          <a:latin typeface="+mn-lt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03" y="6630727"/>
            <a:ext cx="2822872" cy="137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55282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8" r:id="rId1"/>
    <p:sldLayoutId id="2147485019" r:id="rId2"/>
    <p:sldLayoutId id="2147485020" r:id="rId3"/>
    <p:sldLayoutId id="2147485021" r:id="rId4"/>
    <p:sldLayoutId id="2147485022" r:id="rId5"/>
    <p:sldLayoutId id="2147485023" r:id="rId6"/>
    <p:sldLayoutId id="2147485024" r:id="rId7"/>
    <p:sldLayoutId id="2147485025" r:id="rId8"/>
    <p:sldLayoutId id="2147485026" r:id="rId9"/>
    <p:sldLayoutId id="2147485027" r:id="rId10"/>
    <p:sldLayoutId id="2147485028" r:id="rId11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1921443" y="1591750"/>
            <a:ext cx="7128363" cy="142192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46800" rIns="4680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US" altLang="ko-KR" sz="3600" b="1" dirty="0" smtClean="0"/>
              <a:t>Stage-Gate Process</a:t>
            </a:r>
            <a:br>
              <a:rPr lang="en-US" altLang="ko-KR" sz="3600" b="1" dirty="0" smtClean="0"/>
            </a:br>
            <a:r>
              <a:rPr lang="en-US" altLang="ko-KR" sz="3600" b="1" dirty="0" smtClean="0"/>
              <a:t>&amp; Qualify Function Deployment</a:t>
            </a:r>
            <a:endParaRPr lang="en-US" altLang="ko-KR" sz="1800" b="1" dirty="0"/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1228330" y="3320988"/>
            <a:ext cx="8514575" cy="3157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46800" rIns="46800">
            <a:spAutoFit/>
          </a:bodyPr>
          <a:lstStyle>
            <a:defPPr>
              <a:defRPr lang="ko-KR"/>
            </a:defPPr>
            <a:lvl1pPr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4572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9144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3716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1828800" algn="l" rtl="0" fontAlgn="base" latinLnBrk="1">
              <a:spcBef>
                <a:spcPct val="0"/>
              </a:spcBef>
              <a:spcAft>
                <a:spcPct val="0"/>
              </a:spcAft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286000" algn="l" defTabSz="914400" rtl="0" eaLnBrk="1" latinLnBrk="1" hangingPunct="1"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6pPr>
            <a:lvl7pPr marL="2743200" algn="l" defTabSz="914400" rtl="0" eaLnBrk="1" latinLnBrk="1" hangingPunct="1"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7pPr>
            <a:lvl8pPr marL="3200400" algn="l" defTabSz="914400" rtl="0" eaLnBrk="1" latinLnBrk="1" hangingPunct="1"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8pPr>
            <a:lvl9pPr marL="3657600" algn="l" defTabSz="914400" rtl="0" eaLnBrk="1" latinLnBrk="1" hangingPunct="1">
              <a:defRPr kumimoji="1" sz="1200" kern="1200">
                <a:solidFill>
                  <a:srgbClr val="2B3749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ko-KR" sz="1800" b="1" dirty="0">
                <a:latin typeface="맑은 고딕"/>
                <a:ea typeface="맑은 고딕"/>
              </a:rPr>
              <a:t>Rev: </a:t>
            </a:r>
            <a:r>
              <a:rPr lang="en-US" altLang="ko-KR" sz="1800" b="1" dirty="0" smtClean="0">
                <a:latin typeface="맑은 고딕"/>
                <a:ea typeface="맑은 고딕"/>
              </a:rPr>
              <a:t>Dec, </a:t>
            </a:r>
            <a:r>
              <a:rPr lang="en-US" altLang="ko-KR" sz="1800" b="1" dirty="0">
                <a:latin typeface="맑은 고딕"/>
                <a:ea typeface="맑은 고딕"/>
              </a:rPr>
              <a:t>2012</a:t>
            </a:r>
          </a:p>
          <a:p>
            <a:pPr algn="ctr">
              <a:lnSpc>
                <a:spcPct val="120000"/>
              </a:lnSpc>
            </a:pPr>
            <a:endParaRPr lang="en-US" altLang="ko-KR" sz="1800" b="1" dirty="0">
              <a:latin typeface="맑은 고딕"/>
              <a:ea typeface="맑은 고딕"/>
            </a:endParaRPr>
          </a:p>
          <a:p>
            <a:pPr algn="ctr">
              <a:lnSpc>
                <a:spcPct val="120000"/>
              </a:lnSpc>
            </a:pPr>
            <a:endParaRPr lang="en-US" altLang="ko-KR" sz="1800" b="1" dirty="0">
              <a:latin typeface="맑은 고딕"/>
              <a:ea typeface="맑은 고딕"/>
            </a:endParaRPr>
          </a:p>
          <a:p>
            <a:pPr algn="ctr">
              <a:lnSpc>
                <a:spcPct val="120000"/>
              </a:lnSpc>
            </a:pPr>
            <a:endParaRPr lang="en-US" altLang="ko-KR" sz="1800" b="1" dirty="0" smtClean="0">
              <a:latin typeface="맑은 고딕"/>
              <a:ea typeface="맑은 고딕"/>
            </a:endParaRPr>
          </a:p>
          <a:p>
            <a:pPr algn="ctr">
              <a:lnSpc>
                <a:spcPct val="120000"/>
              </a:lnSpc>
            </a:pPr>
            <a:endParaRPr lang="en-US" altLang="ko-KR" sz="1800" b="1" dirty="0">
              <a:latin typeface="맑은 고딕"/>
              <a:ea typeface="맑은 고딕"/>
            </a:endParaRPr>
          </a:p>
          <a:p>
            <a:pPr algn="ctr">
              <a:lnSpc>
                <a:spcPct val="120000"/>
              </a:lnSpc>
            </a:pPr>
            <a:r>
              <a:rPr lang="en-US" altLang="ko-KR" sz="1800" b="1" dirty="0">
                <a:latin typeface="맑은 고딕"/>
                <a:ea typeface="맑은 고딕"/>
              </a:rPr>
              <a:t>POSTECH Strategic Management of Information and Technology Laboratory</a:t>
            </a:r>
          </a:p>
          <a:p>
            <a:pPr algn="ctr">
              <a:lnSpc>
                <a:spcPct val="120000"/>
              </a:lnSpc>
            </a:pPr>
            <a:r>
              <a:rPr lang="en-US" altLang="ko-KR" sz="1800" b="1" dirty="0">
                <a:latin typeface="맑은 고딕"/>
                <a:ea typeface="맑은 고딕"/>
              </a:rPr>
              <a:t>(POSMIT: http://posmit.postech.ac.kr)</a:t>
            </a:r>
          </a:p>
          <a:p>
            <a:pPr algn="ctr">
              <a:lnSpc>
                <a:spcPct val="120000"/>
              </a:lnSpc>
            </a:pPr>
            <a:r>
              <a:rPr lang="en-US" altLang="ko-KR" sz="2000" b="1" dirty="0">
                <a:latin typeface="맑은 고딕"/>
                <a:ea typeface="맑은 고딕"/>
              </a:rPr>
              <a:t>Dept. of Industrial &amp; Management Engineering</a:t>
            </a:r>
            <a:br>
              <a:rPr lang="en-US" altLang="ko-KR" sz="2000" b="1" dirty="0">
                <a:latin typeface="맑은 고딕"/>
                <a:ea typeface="맑은 고딕"/>
              </a:rPr>
            </a:br>
            <a:r>
              <a:rPr lang="en-US" altLang="ko-KR" sz="2000" b="1" dirty="0">
                <a:latin typeface="맑은 고딕"/>
                <a:ea typeface="맑은 고딕"/>
              </a:rPr>
              <a:t>POSTECH</a:t>
            </a:r>
            <a:endParaRPr lang="ko-KR" alt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897112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Quality Function Deployment </a:t>
            </a:r>
            <a:r>
              <a:rPr lang="en-US" altLang="ko-KR" dirty="0" smtClean="0"/>
              <a:t>(5/6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111103" y="740160"/>
            <a:ext cx="9621888" cy="5760640"/>
          </a:xfrm>
        </p:spPr>
        <p:txBody>
          <a:bodyPr/>
          <a:lstStyle/>
          <a:p>
            <a:r>
              <a:rPr lang="en-US" altLang="ko-KR" dirty="0" smtClean="0"/>
              <a:t>House of Quality</a:t>
            </a:r>
          </a:p>
          <a:p>
            <a:pPr lvl="1"/>
            <a:r>
              <a:rPr lang="en-US" altLang="ko-KR" dirty="0"/>
              <a:t>Introduced by John R. Hauser and Don </a:t>
            </a:r>
            <a:r>
              <a:rPr lang="en-US" altLang="ko-KR" dirty="0" err="1"/>
              <a:t>Clausing</a:t>
            </a:r>
            <a:r>
              <a:rPr lang="en-US" altLang="ko-KR" dirty="0"/>
              <a:t> in 1988</a:t>
            </a:r>
            <a:endParaRPr lang="ko-KR" altLang="en-US" dirty="0"/>
          </a:p>
          <a:p>
            <a:pPr lvl="1"/>
            <a:endParaRPr lang="ko-KR" altLang="en-US" dirty="0"/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3417093" y="3302980"/>
            <a:ext cx="2997200" cy="635000"/>
          </a:xfrm>
          <a:prstGeom prst="rect">
            <a:avLst/>
          </a:prstGeom>
          <a:noFill/>
          <a:ln w="5080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1" name="Rectangle 4"/>
          <p:cNvSpPr>
            <a:spLocks noChangeArrowheads="1"/>
          </p:cNvSpPr>
          <p:nvPr/>
        </p:nvSpPr>
        <p:spPr bwMode="auto">
          <a:xfrm>
            <a:off x="3413922" y="4064980"/>
            <a:ext cx="3000375" cy="1701800"/>
          </a:xfrm>
          <a:prstGeom prst="rect">
            <a:avLst/>
          </a:prstGeom>
          <a:noFill/>
          <a:ln w="5080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auto">
          <a:xfrm>
            <a:off x="3385340" y="3380768"/>
            <a:ext cx="3067058" cy="508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Technical Descriptors</a:t>
            </a:r>
          </a:p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(Voice of the organization)</a:t>
            </a:r>
          </a:p>
        </p:txBody>
      </p:sp>
      <p:grpSp>
        <p:nvGrpSpPr>
          <p:cNvPr id="23" name="Group 8"/>
          <p:cNvGrpSpPr>
            <a:grpSpLocks/>
          </p:cNvGrpSpPr>
          <p:nvPr/>
        </p:nvGrpSpPr>
        <p:grpSpPr bwMode="auto">
          <a:xfrm>
            <a:off x="3417093" y="5893787"/>
            <a:ext cx="2997200" cy="563563"/>
            <a:chOff x="1840" y="3664"/>
            <a:chExt cx="1888" cy="355"/>
          </a:xfrm>
        </p:grpSpPr>
        <p:sp>
          <p:nvSpPr>
            <p:cNvPr id="34" name="Rectangle 6"/>
            <p:cNvSpPr>
              <a:spLocks noChangeArrowheads="1"/>
            </p:cNvSpPr>
            <p:nvPr/>
          </p:nvSpPr>
          <p:spPr bwMode="auto">
            <a:xfrm>
              <a:off x="1840" y="3664"/>
              <a:ext cx="1888" cy="352"/>
            </a:xfrm>
            <a:prstGeom prst="rect">
              <a:avLst/>
            </a:prstGeom>
            <a:noFill/>
            <a:ln w="50800">
              <a:solidFill>
                <a:schemeClr val="tx2">
                  <a:lumMod val="5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35" name="Rectangle 7"/>
            <p:cNvSpPr>
              <a:spLocks noChangeArrowheads="1"/>
            </p:cNvSpPr>
            <p:nvPr/>
          </p:nvSpPr>
          <p:spPr bwMode="auto">
            <a:xfrm>
              <a:off x="2017" y="3699"/>
              <a:ext cx="1528" cy="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굴림" charset="-127"/>
                  <a:cs typeface="+mn-cs"/>
                </a:rPr>
                <a:t>Prioritized Technical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7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charset="0"/>
                  <a:ea typeface="굴림" charset="-127"/>
                  <a:cs typeface="+mn-cs"/>
                </a:rPr>
                <a:t>Descriptors</a:t>
              </a:r>
            </a:p>
          </p:txBody>
        </p:sp>
      </p:grpSp>
      <p:sp>
        <p:nvSpPr>
          <p:cNvPr id="24" name="Rectangle 9"/>
          <p:cNvSpPr>
            <a:spLocks noChangeArrowheads="1"/>
          </p:cNvSpPr>
          <p:nvPr/>
        </p:nvSpPr>
        <p:spPr bwMode="auto">
          <a:xfrm>
            <a:off x="3623443" y="2485425"/>
            <a:ext cx="2579744" cy="7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Interrelationship</a:t>
            </a:r>
          </a:p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between</a:t>
            </a:r>
          </a:p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Technical Descriptors</a:t>
            </a:r>
          </a:p>
        </p:txBody>
      </p:sp>
      <p:sp>
        <p:nvSpPr>
          <p:cNvPr id="25" name="Rectangle 10"/>
          <p:cNvSpPr>
            <a:spLocks noChangeArrowheads="1"/>
          </p:cNvSpPr>
          <p:nvPr/>
        </p:nvSpPr>
        <p:spPr bwMode="auto">
          <a:xfrm>
            <a:off x="2274097" y="4077680"/>
            <a:ext cx="1012825" cy="1689100"/>
          </a:xfrm>
          <a:prstGeom prst="rect">
            <a:avLst/>
          </a:prstGeom>
          <a:noFill/>
          <a:ln w="5080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6" name="Rectangle 11"/>
          <p:cNvSpPr>
            <a:spLocks noChangeArrowheads="1"/>
          </p:cNvSpPr>
          <p:nvPr/>
        </p:nvSpPr>
        <p:spPr bwMode="auto">
          <a:xfrm rot="16200000">
            <a:off x="1774826" y="4486441"/>
            <a:ext cx="2103438" cy="923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Customer Requirements</a:t>
            </a:r>
          </a:p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(Voice of the Customer)</a:t>
            </a:r>
          </a:p>
        </p:txBody>
      </p:sp>
      <p:sp>
        <p:nvSpPr>
          <p:cNvPr id="27" name="Rectangle 12"/>
          <p:cNvSpPr>
            <a:spLocks noChangeArrowheads="1"/>
          </p:cNvSpPr>
          <p:nvPr/>
        </p:nvSpPr>
        <p:spPr bwMode="auto">
          <a:xfrm>
            <a:off x="6536536" y="4068155"/>
            <a:ext cx="1095375" cy="1697038"/>
          </a:xfrm>
          <a:prstGeom prst="rect">
            <a:avLst/>
          </a:prstGeom>
          <a:noFill/>
          <a:ln w="50800">
            <a:solidFill>
              <a:schemeClr val="tx2">
                <a:lumMod val="50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 rot="16200000">
            <a:off x="6025359" y="4564123"/>
            <a:ext cx="2124075" cy="716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Prioritized Customer</a:t>
            </a:r>
          </a:p>
          <a:p>
            <a:pPr algn="ctr">
              <a:lnSpc>
                <a:spcPct val="75000"/>
              </a:lnSpc>
            </a:pPr>
            <a:r>
              <a:rPr lang="en-US" altLang="ko-KR" sz="1800" b="1"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3544093" y="4549173"/>
            <a:ext cx="2743200" cy="9239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en-US" altLang="ko-KR" sz="1800" b="1" dirty="0">
                <a:latin typeface="Arial" charset="0"/>
                <a:ea typeface="굴림" charset="-127"/>
              </a:rPr>
              <a:t>Relationship between</a:t>
            </a:r>
          </a:p>
          <a:p>
            <a:pPr algn="ctr"/>
            <a:r>
              <a:rPr lang="en-US" altLang="ko-KR" sz="1800" b="1" dirty="0">
                <a:latin typeface="Arial" charset="0"/>
                <a:ea typeface="굴림" charset="-127"/>
              </a:rPr>
              <a:t>Requirements and Descriptors</a:t>
            </a:r>
          </a:p>
        </p:txBody>
      </p:sp>
      <p:sp>
        <p:nvSpPr>
          <p:cNvPr id="30" name="Line 15"/>
          <p:cNvSpPr>
            <a:spLocks noChangeShapeType="1"/>
          </p:cNvSpPr>
          <p:nvPr/>
        </p:nvSpPr>
        <p:spPr bwMode="auto">
          <a:xfrm>
            <a:off x="3391693" y="3201380"/>
            <a:ext cx="3048000" cy="0"/>
          </a:xfrm>
          <a:prstGeom prst="line">
            <a:avLst/>
          </a:prstGeom>
          <a:noFill/>
          <a:ln w="50800">
            <a:solidFill>
              <a:schemeClr val="tx2">
                <a:lumMod val="50000"/>
              </a:schemeClr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31" name="Group 18"/>
          <p:cNvGrpSpPr>
            <a:grpSpLocks/>
          </p:cNvGrpSpPr>
          <p:nvPr/>
        </p:nvGrpSpPr>
        <p:grpSpPr bwMode="auto">
          <a:xfrm>
            <a:off x="3391693" y="1448780"/>
            <a:ext cx="3048000" cy="1752600"/>
            <a:chOff x="1824" y="864"/>
            <a:chExt cx="1920" cy="1104"/>
          </a:xfrm>
        </p:grpSpPr>
        <p:sp>
          <p:nvSpPr>
            <p:cNvPr id="32" name="Line 16"/>
            <p:cNvSpPr>
              <a:spLocks noChangeShapeType="1"/>
            </p:cNvSpPr>
            <p:nvPr/>
          </p:nvSpPr>
          <p:spPr bwMode="auto">
            <a:xfrm flipH="1">
              <a:off x="1824" y="864"/>
              <a:ext cx="964" cy="1104"/>
            </a:xfrm>
            <a:prstGeom prst="line">
              <a:avLst/>
            </a:prstGeom>
            <a:noFill/>
            <a:ln w="50800">
              <a:solidFill>
                <a:schemeClr val="tx2">
                  <a:lumMod val="50000"/>
                </a:schemeClr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33" name="Line 17"/>
            <p:cNvSpPr>
              <a:spLocks noChangeShapeType="1"/>
            </p:cNvSpPr>
            <p:nvPr/>
          </p:nvSpPr>
          <p:spPr bwMode="auto">
            <a:xfrm>
              <a:off x="2788" y="864"/>
              <a:ext cx="956" cy="1097"/>
            </a:xfrm>
            <a:prstGeom prst="line">
              <a:avLst/>
            </a:prstGeom>
            <a:noFill/>
            <a:ln w="50800">
              <a:solidFill>
                <a:schemeClr val="tx2">
                  <a:lumMod val="50000"/>
                </a:schemeClr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5pPr>
              <a:lvl6pPr marL="22860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6pPr>
              <a:lvl7pPr marL="27432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7pPr>
              <a:lvl8pPr marL="32004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8pPr>
              <a:lvl9pPr marL="3657600" algn="l" defTabSz="914400" rtl="0" eaLnBrk="1" latinLnBrk="1" hangingPunct="1">
                <a:defRPr sz="2400" kern="1200">
                  <a:solidFill>
                    <a:schemeClr val="tx1"/>
                  </a:solidFill>
                  <a:latin typeface="Times New Roman" pitchFamily="18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03984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Quality Function Deployment </a:t>
            </a:r>
            <a:r>
              <a:rPr lang="en-US" altLang="ko-KR" dirty="0" smtClean="0"/>
              <a:t>(6/6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Building A House Of </a:t>
            </a:r>
            <a:r>
              <a:rPr lang="en-US" altLang="ko-KR" dirty="0" smtClean="0"/>
              <a:t>Quality</a:t>
            </a:r>
          </a:p>
          <a:p>
            <a:pPr lvl="1"/>
            <a:r>
              <a:rPr lang="en-US" altLang="ko-KR" dirty="0"/>
              <a:t>List Customer Requirements (What’s)</a:t>
            </a:r>
          </a:p>
          <a:p>
            <a:pPr lvl="1"/>
            <a:r>
              <a:rPr lang="en-US" altLang="ko-KR" dirty="0"/>
              <a:t>List Technical Descriptors (How’s)</a:t>
            </a:r>
          </a:p>
          <a:p>
            <a:pPr lvl="1"/>
            <a:r>
              <a:rPr lang="en-US" altLang="ko-KR" dirty="0"/>
              <a:t>Develop Relationship (What’s &amp; How’s)</a:t>
            </a:r>
          </a:p>
          <a:p>
            <a:pPr lvl="1"/>
            <a:r>
              <a:rPr lang="en-US" altLang="ko-KR" dirty="0"/>
              <a:t>Develop Interrelationship (How’s)</a:t>
            </a:r>
          </a:p>
          <a:p>
            <a:pPr lvl="1"/>
            <a:r>
              <a:rPr lang="en-US" altLang="ko-KR" dirty="0"/>
              <a:t>Competitive Assessments</a:t>
            </a:r>
          </a:p>
          <a:p>
            <a:pPr lvl="1"/>
            <a:r>
              <a:rPr lang="en-US" altLang="ko-KR" dirty="0"/>
              <a:t>Prioritize Customer Requirements</a:t>
            </a:r>
          </a:p>
          <a:p>
            <a:pPr lvl="1"/>
            <a:r>
              <a:rPr lang="en-US" altLang="ko-KR" dirty="0"/>
              <a:t>Prioritize Technical Descriptors</a:t>
            </a:r>
          </a:p>
          <a:p>
            <a:pPr lvl="1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65922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5" y="0"/>
            <a:ext cx="3664877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QFD Matrix</a:t>
            </a:r>
          </a:p>
        </p:txBody>
      </p:sp>
      <p:sp>
        <p:nvSpPr>
          <p:cNvPr id="32771" name="Line 3"/>
          <p:cNvSpPr>
            <a:spLocks noChangeShapeType="1"/>
          </p:cNvSpPr>
          <p:nvPr/>
        </p:nvSpPr>
        <p:spPr bwMode="auto">
          <a:xfrm flipV="1">
            <a:off x="5210969" y="152403"/>
            <a:ext cx="844418" cy="715963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72" name="Line 4"/>
          <p:cNvSpPr>
            <a:spLocks noChangeShapeType="1"/>
          </p:cNvSpPr>
          <p:nvPr/>
        </p:nvSpPr>
        <p:spPr bwMode="auto">
          <a:xfrm flipH="1" flipV="1">
            <a:off x="5317596" y="779463"/>
            <a:ext cx="103188" cy="889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73" name="Line 5"/>
          <p:cNvSpPr>
            <a:spLocks noChangeShapeType="1"/>
          </p:cNvSpPr>
          <p:nvPr/>
        </p:nvSpPr>
        <p:spPr bwMode="auto">
          <a:xfrm flipH="1" flipV="1">
            <a:off x="5420783" y="688975"/>
            <a:ext cx="214975" cy="1793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74" name="Line 6"/>
          <p:cNvSpPr>
            <a:spLocks noChangeShapeType="1"/>
          </p:cNvSpPr>
          <p:nvPr/>
        </p:nvSpPr>
        <p:spPr bwMode="auto">
          <a:xfrm flipH="1" flipV="1">
            <a:off x="5527415" y="600075"/>
            <a:ext cx="319881" cy="2682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75" name="Line 7"/>
          <p:cNvSpPr>
            <a:spLocks noChangeShapeType="1"/>
          </p:cNvSpPr>
          <p:nvPr/>
        </p:nvSpPr>
        <p:spPr bwMode="auto">
          <a:xfrm flipH="1" flipV="1">
            <a:off x="5635763" y="511175"/>
            <a:ext cx="421348" cy="3571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76" name="Line 8"/>
          <p:cNvSpPr>
            <a:spLocks noChangeShapeType="1"/>
          </p:cNvSpPr>
          <p:nvPr/>
        </p:nvSpPr>
        <p:spPr bwMode="auto">
          <a:xfrm flipH="1" flipV="1">
            <a:off x="5740665" y="420697"/>
            <a:ext cx="531416" cy="447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77" name="Line 9"/>
          <p:cNvSpPr>
            <a:spLocks noChangeShapeType="1"/>
          </p:cNvSpPr>
          <p:nvPr/>
        </p:nvSpPr>
        <p:spPr bwMode="auto">
          <a:xfrm flipH="1" flipV="1">
            <a:off x="5847291" y="331797"/>
            <a:ext cx="634604" cy="5365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78" name="Line 10"/>
          <p:cNvSpPr>
            <a:spLocks noChangeShapeType="1"/>
          </p:cNvSpPr>
          <p:nvPr/>
        </p:nvSpPr>
        <p:spPr bwMode="auto">
          <a:xfrm flipH="1" flipV="1">
            <a:off x="5952199" y="241309"/>
            <a:ext cx="742950" cy="627063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79" name="Line 11"/>
          <p:cNvSpPr>
            <a:spLocks noChangeShapeType="1"/>
          </p:cNvSpPr>
          <p:nvPr/>
        </p:nvSpPr>
        <p:spPr bwMode="auto">
          <a:xfrm flipH="1" flipV="1">
            <a:off x="6055387" y="152403"/>
            <a:ext cx="844417" cy="715963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0" name="Line 12"/>
          <p:cNvSpPr>
            <a:spLocks noChangeShapeType="1"/>
          </p:cNvSpPr>
          <p:nvPr/>
        </p:nvSpPr>
        <p:spPr bwMode="auto">
          <a:xfrm flipV="1">
            <a:off x="6688275" y="779463"/>
            <a:ext cx="104907" cy="889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1" name="Line 13"/>
          <p:cNvSpPr>
            <a:spLocks noChangeShapeType="1"/>
          </p:cNvSpPr>
          <p:nvPr/>
        </p:nvSpPr>
        <p:spPr bwMode="auto">
          <a:xfrm flipV="1">
            <a:off x="6475016" y="688975"/>
            <a:ext cx="213254" cy="1793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2" name="Line 14"/>
          <p:cNvSpPr>
            <a:spLocks noChangeShapeType="1"/>
          </p:cNvSpPr>
          <p:nvPr/>
        </p:nvSpPr>
        <p:spPr bwMode="auto">
          <a:xfrm flipV="1">
            <a:off x="6263486" y="600075"/>
            <a:ext cx="319881" cy="2682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3" name="Line 15"/>
          <p:cNvSpPr>
            <a:spLocks noChangeShapeType="1"/>
          </p:cNvSpPr>
          <p:nvPr/>
        </p:nvSpPr>
        <p:spPr bwMode="auto">
          <a:xfrm flipV="1">
            <a:off x="6051952" y="511175"/>
            <a:ext cx="423069" cy="3571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4" name="Line 16"/>
          <p:cNvSpPr>
            <a:spLocks noChangeShapeType="1"/>
          </p:cNvSpPr>
          <p:nvPr/>
        </p:nvSpPr>
        <p:spPr bwMode="auto">
          <a:xfrm flipV="1">
            <a:off x="5838693" y="420697"/>
            <a:ext cx="529696" cy="447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5" name="Line 17"/>
          <p:cNvSpPr>
            <a:spLocks noChangeShapeType="1"/>
          </p:cNvSpPr>
          <p:nvPr/>
        </p:nvSpPr>
        <p:spPr bwMode="auto">
          <a:xfrm flipV="1">
            <a:off x="5628883" y="331797"/>
            <a:ext cx="634603" cy="5365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6" name="Line 18"/>
          <p:cNvSpPr>
            <a:spLocks noChangeShapeType="1"/>
          </p:cNvSpPr>
          <p:nvPr/>
        </p:nvSpPr>
        <p:spPr bwMode="auto">
          <a:xfrm flipV="1">
            <a:off x="5413904" y="241309"/>
            <a:ext cx="744670" cy="627063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7" name="Line 19"/>
          <p:cNvSpPr>
            <a:spLocks noChangeShapeType="1"/>
          </p:cNvSpPr>
          <p:nvPr/>
        </p:nvSpPr>
        <p:spPr bwMode="auto">
          <a:xfrm flipH="1">
            <a:off x="5204089" y="876300"/>
            <a:ext cx="170087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88" name="Rectangle 20"/>
          <p:cNvSpPr>
            <a:spLocks noChangeArrowheads="1"/>
          </p:cNvSpPr>
          <p:nvPr/>
        </p:nvSpPr>
        <p:spPr bwMode="auto">
          <a:xfrm>
            <a:off x="2791226" y="5589597"/>
            <a:ext cx="2323200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bsolute Weight and Percent</a:t>
            </a:r>
          </a:p>
        </p:txBody>
      </p:sp>
      <p:sp>
        <p:nvSpPr>
          <p:cNvPr id="32789" name="Line 21"/>
          <p:cNvSpPr>
            <a:spLocks noChangeShapeType="1"/>
          </p:cNvSpPr>
          <p:nvPr/>
        </p:nvSpPr>
        <p:spPr bwMode="auto">
          <a:xfrm>
            <a:off x="2861734" y="5259388"/>
            <a:ext cx="4265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0" name="Line 22"/>
          <p:cNvSpPr>
            <a:spLocks noChangeShapeType="1"/>
          </p:cNvSpPr>
          <p:nvPr/>
        </p:nvSpPr>
        <p:spPr bwMode="auto">
          <a:xfrm>
            <a:off x="2861733" y="5629275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1" name="Line 23"/>
          <p:cNvSpPr>
            <a:spLocks noChangeShapeType="1"/>
          </p:cNvSpPr>
          <p:nvPr/>
        </p:nvSpPr>
        <p:spPr bwMode="auto">
          <a:xfrm>
            <a:off x="5420783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2" name="Line 24"/>
          <p:cNvSpPr>
            <a:spLocks noChangeShapeType="1"/>
          </p:cNvSpPr>
          <p:nvPr/>
        </p:nvSpPr>
        <p:spPr bwMode="auto">
          <a:xfrm>
            <a:off x="2861733" y="5818188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3" name="Line 25"/>
          <p:cNvSpPr>
            <a:spLocks noChangeShapeType="1"/>
          </p:cNvSpPr>
          <p:nvPr/>
        </p:nvSpPr>
        <p:spPr bwMode="auto">
          <a:xfrm>
            <a:off x="2861733" y="5446713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4" name="Line 26"/>
          <p:cNvSpPr>
            <a:spLocks noChangeShapeType="1"/>
          </p:cNvSpPr>
          <p:nvPr/>
        </p:nvSpPr>
        <p:spPr bwMode="auto">
          <a:xfrm>
            <a:off x="3288242" y="5259388"/>
            <a:ext cx="19210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5" name="Line 27"/>
          <p:cNvSpPr>
            <a:spLocks noChangeShapeType="1"/>
          </p:cNvSpPr>
          <p:nvPr/>
        </p:nvSpPr>
        <p:spPr bwMode="auto">
          <a:xfrm>
            <a:off x="5635763" y="5259388"/>
            <a:ext cx="1719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6" name="Line 28"/>
          <p:cNvSpPr>
            <a:spLocks noChangeShapeType="1"/>
          </p:cNvSpPr>
          <p:nvPr/>
        </p:nvSpPr>
        <p:spPr bwMode="auto">
          <a:xfrm>
            <a:off x="5847292" y="5259388"/>
            <a:ext cx="172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7" name="Line 29"/>
          <p:cNvSpPr>
            <a:spLocks noChangeShapeType="1"/>
          </p:cNvSpPr>
          <p:nvPr/>
        </p:nvSpPr>
        <p:spPr bwMode="auto">
          <a:xfrm>
            <a:off x="6062266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8" name="Line 30"/>
          <p:cNvSpPr>
            <a:spLocks noChangeShapeType="1"/>
          </p:cNvSpPr>
          <p:nvPr/>
        </p:nvSpPr>
        <p:spPr bwMode="auto">
          <a:xfrm>
            <a:off x="6275520" y="5259388"/>
            <a:ext cx="5159" cy="7413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799" name="Line 31"/>
          <p:cNvSpPr>
            <a:spLocks noChangeShapeType="1"/>
          </p:cNvSpPr>
          <p:nvPr/>
        </p:nvSpPr>
        <p:spPr bwMode="auto">
          <a:xfrm>
            <a:off x="6488775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0" name="Line 32"/>
          <p:cNvSpPr>
            <a:spLocks noChangeShapeType="1"/>
          </p:cNvSpPr>
          <p:nvPr/>
        </p:nvSpPr>
        <p:spPr bwMode="auto">
          <a:xfrm>
            <a:off x="6700308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1" name="Line 33"/>
          <p:cNvSpPr>
            <a:spLocks noChangeShapeType="1"/>
          </p:cNvSpPr>
          <p:nvPr/>
        </p:nvSpPr>
        <p:spPr bwMode="auto">
          <a:xfrm>
            <a:off x="2861733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2" name="Line 34"/>
          <p:cNvSpPr>
            <a:spLocks noChangeShapeType="1"/>
          </p:cNvSpPr>
          <p:nvPr/>
        </p:nvSpPr>
        <p:spPr bwMode="auto">
          <a:xfrm>
            <a:off x="2861733" y="6002338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3" name="Line 35"/>
          <p:cNvSpPr>
            <a:spLocks noChangeShapeType="1"/>
          </p:cNvSpPr>
          <p:nvPr/>
        </p:nvSpPr>
        <p:spPr bwMode="auto">
          <a:xfrm>
            <a:off x="5209250" y="5259397"/>
            <a:ext cx="0" cy="1873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4" name="Line 36"/>
          <p:cNvSpPr>
            <a:spLocks noChangeShapeType="1"/>
          </p:cNvSpPr>
          <p:nvPr/>
        </p:nvSpPr>
        <p:spPr bwMode="auto">
          <a:xfrm>
            <a:off x="5210969" y="6002338"/>
            <a:ext cx="170259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5" name="Line 37"/>
          <p:cNvSpPr>
            <a:spLocks noChangeShapeType="1"/>
          </p:cNvSpPr>
          <p:nvPr/>
        </p:nvSpPr>
        <p:spPr bwMode="auto">
          <a:xfrm>
            <a:off x="6915283" y="5259397"/>
            <a:ext cx="0" cy="9302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6" name="Line 38"/>
          <p:cNvSpPr>
            <a:spLocks noChangeShapeType="1"/>
          </p:cNvSpPr>
          <p:nvPr/>
        </p:nvSpPr>
        <p:spPr bwMode="auto">
          <a:xfrm>
            <a:off x="5209250" y="6002347"/>
            <a:ext cx="0" cy="3698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7" name="Line 39"/>
          <p:cNvSpPr>
            <a:spLocks noChangeShapeType="1"/>
          </p:cNvSpPr>
          <p:nvPr/>
        </p:nvSpPr>
        <p:spPr bwMode="auto">
          <a:xfrm>
            <a:off x="5210969" y="6372225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8" name="Line 40"/>
          <p:cNvSpPr>
            <a:spLocks noChangeShapeType="1"/>
          </p:cNvSpPr>
          <p:nvPr/>
        </p:nvSpPr>
        <p:spPr bwMode="auto">
          <a:xfrm flipV="1">
            <a:off x="6915283" y="6189663"/>
            <a:ext cx="0" cy="1825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09" name="Rectangle 41"/>
          <p:cNvSpPr>
            <a:spLocks noChangeArrowheads="1"/>
          </p:cNvSpPr>
          <p:nvPr/>
        </p:nvSpPr>
        <p:spPr bwMode="auto">
          <a:xfrm>
            <a:off x="5140463" y="5970596"/>
            <a:ext cx="1838457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oritized Technical Descriptors</a:t>
            </a:r>
          </a:p>
        </p:txBody>
      </p:sp>
      <p:sp>
        <p:nvSpPr>
          <p:cNvPr id="32810" name="Rectangle 42"/>
          <p:cNvSpPr>
            <a:spLocks noChangeArrowheads="1"/>
          </p:cNvSpPr>
          <p:nvPr/>
        </p:nvSpPr>
        <p:spPr bwMode="auto">
          <a:xfrm>
            <a:off x="2789506" y="5233997"/>
            <a:ext cx="2338589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Degree of Technical Difficulty</a:t>
            </a:r>
          </a:p>
        </p:txBody>
      </p:sp>
      <p:sp>
        <p:nvSpPr>
          <p:cNvPr id="32811" name="Rectangle 43"/>
          <p:cNvSpPr>
            <a:spLocks noChangeArrowheads="1"/>
          </p:cNvSpPr>
          <p:nvPr/>
        </p:nvSpPr>
        <p:spPr bwMode="auto">
          <a:xfrm>
            <a:off x="2796384" y="5780097"/>
            <a:ext cx="2252668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lative Weight and Percent</a:t>
            </a:r>
          </a:p>
        </p:txBody>
      </p:sp>
      <p:sp>
        <p:nvSpPr>
          <p:cNvPr id="32812" name="Rectangle 44"/>
          <p:cNvSpPr>
            <a:spLocks noChangeArrowheads="1"/>
          </p:cNvSpPr>
          <p:nvPr/>
        </p:nvSpPr>
        <p:spPr bwMode="auto">
          <a:xfrm>
            <a:off x="2792948" y="5411797"/>
            <a:ext cx="1089401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b="1" dirty="0" smtClean="0">
                <a:solidFill>
                  <a:srgbClr val="FFFFFF"/>
                </a:solidFill>
                <a:latin typeface="Arial" charset="0"/>
                <a:ea typeface="굴림" charset="-127"/>
              </a:rPr>
              <a:t>Target Value</a:t>
            </a:r>
          </a:p>
        </p:txBody>
      </p:sp>
      <p:sp>
        <p:nvSpPr>
          <p:cNvPr id="32813" name="Line 45"/>
          <p:cNvSpPr>
            <a:spLocks noChangeShapeType="1"/>
          </p:cNvSpPr>
          <p:nvPr/>
        </p:nvSpPr>
        <p:spPr bwMode="auto">
          <a:xfrm>
            <a:off x="5209250" y="5446722"/>
            <a:ext cx="0" cy="5556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14" name="Line 46"/>
          <p:cNvSpPr>
            <a:spLocks noChangeShapeType="1"/>
          </p:cNvSpPr>
          <p:nvPr/>
        </p:nvSpPr>
        <p:spPr bwMode="auto">
          <a:xfrm>
            <a:off x="5209254" y="5259388"/>
            <a:ext cx="170603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15" name="Line 47"/>
          <p:cNvSpPr>
            <a:spLocks noChangeShapeType="1"/>
          </p:cNvSpPr>
          <p:nvPr/>
        </p:nvSpPr>
        <p:spPr bwMode="auto">
          <a:xfrm>
            <a:off x="5209254" y="5446713"/>
            <a:ext cx="170603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16" name="Line 48"/>
          <p:cNvSpPr>
            <a:spLocks noChangeShapeType="1"/>
          </p:cNvSpPr>
          <p:nvPr/>
        </p:nvSpPr>
        <p:spPr bwMode="auto">
          <a:xfrm>
            <a:off x="5209254" y="5629275"/>
            <a:ext cx="170603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17" name="Line 49"/>
          <p:cNvSpPr>
            <a:spLocks noChangeShapeType="1"/>
          </p:cNvSpPr>
          <p:nvPr/>
        </p:nvSpPr>
        <p:spPr bwMode="auto">
          <a:xfrm>
            <a:off x="5209254" y="5818188"/>
            <a:ext cx="170603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18" name="Line 50"/>
          <p:cNvSpPr>
            <a:spLocks noChangeShapeType="1"/>
          </p:cNvSpPr>
          <p:nvPr/>
        </p:nvSpPr>
        <p:spPr bwMode="auto">
          <a:xfrm>
            <a:off x="5422504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19" name="Line 51"/>
          <p:cNvSpPr>
            <a:spLocks noChangeShapeType="1"/>
          </p:cNvSpPr>
          <p:nvPr/>
        </p:nvSpPr>
        <p:spPr bwMode="auto">
          <a:xfrm>
            <a:off x="5210974" y="3262313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0" name="Line 52"/>
          <p:cNvSpPr>
            <a:spLocks noChangeShapeType="1"/>
          </p:cNvSpPr>
          <p:nvPr/>
        </p:nvSpPr>
        <p:spPr bwMode="auto">
          <a:xfrm>
            <a:off x="5210974" y="346075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1" name="Line 53"/>
          <p:cNvSpPr>
            <a:spLocks noChangeShapeType="1"/>
          </p:cNvSpPr>
          <p:nvPr/>
        </p:nvSpPr>
        <p:spPr bwMode="auto">
          <a:xfrm>
            <a:off x="5210974" y="366077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2" name="Line 54"/>
          <p:cNvSpPr>
            <a:spLocks noChangeShapeType="1"/>
          </p:cNvSpPr>
          <p:nvPr/>
        </p:nvSpPr>
        <p:spPr bwMode="auto">
          <a:xfrm>
            <a:off x="5210974" y="385762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3" name="Line 55"/>
          <p:cNvSpPr>
            <a:spLocks noChangeShapeType="1"/>
          </p:cNvSpPr>
          <p:nvPr/>
        </p:nvSpPr>
        <p:spPr bwMode="auto">
          <a:xfrm>
            <a:off x="5210974" y="405765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4" name="Line 56"/>
          <p:cNvSpPr>
            <a:spLocks noChangeShapeType="1"/>
          </p:cNvSpPr>
          <p:nvPr/>
        </p:nvSpPr>
        <p:spPr bwMode="auto">
          <a:xfrm>
            <a:off x="5210974" y="425450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5" name="Line 57"/>
          <p:cNvSpPr>
            <a:spLocks noChangeShapeType="1"/>
          </p:cNvSpPr>
          <p:nvPr/>
        </p:nvSpPr>
        <p:spPr bwMode="auto">
          <a:xfrm>
            <a:off x="5210974" y="445452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6" name="Line 58"/>
          <p:cNvSpPr>
            <a:spLocks noChangeShapeType="1"/>
          </p:cNvSpPr>
          <p:nvPr/>
        </p:nvSpPr>
        <p:spPr bwMode="auto">
          <a:xfrm>
            <a:off x="5852452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7" name="Line 59"/>
          <p:cNvSpPr>
            <a:spLocks noChangeShapeType="1"/>
          </p:cNvSpPr>
          <p:nvPr/>
        </p:nvSpPr>
        <p:spPr bwMode="auto">
          <a:xfrm>
            <a:off x="6063985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8" name="Line 60"/>
          <p:cNvSpPr>
            <a:spLocks noChangeShapeType="1"/>
          </p:cNvSpPr>
          <p:nvPr/>
        </p:nvSpPr>
        <p:spPr bwMode="auto">
          <a:xfrm>
            <a:off x="6278960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29" name="Line 61"/>
          <p:cNvSpPr>
            <a:spLocks noChangeShapeType="1"/>
          </p:cNvSpPr>
          <p:nvPr/>
        </p:nvSpPr>
        <p:spPr bwMode="auto">
          <a:xfrm>
            <a:off x="6490494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0" name="Line 62"/>
          <p:cNvSpPr>
            <a:spLocks noChangeShapeType="1"/>
          </p:cNvSpPr>
          <p:nvPr/>
        </p:nvSpPr>
        <p:spPr bwMode="auto">
          <a:xfrm>
            <a:off x="6707188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1" name="Line 63"/>
          <p:cNvSpPr>
            <a:spLocks noChangeShapeType="1"/>
          </p:cNvSpPr>
          <p:nvPr/>
        </p:nvSpPr>
        <p:spPr bwMode="auto">
          <a:xfrm>
            <a:off x="7133696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2" name="Line 64"/>
          <p:cNvSpPr>
            <a:spLocks noChangeShapeType="1"/>
          </p:cNvSpPr>
          <p:nvPr/>
        </p:nvSpPr>
        <p:spPr bwMode="auto">
          <a:xfrm>
            <a:off x="7348670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3" name="Line 65"/>
          <p:cNvSpPr>
            <a:spLocks noChangeShapeType="1"/>
          </p:cNvSpPr>
          <p:nvPr/>
        </p:nvSpPr>
        <p:spPr bwMode="auto">
          <a:xfrm flipH="1">
            <a:off x="3288242" y="4057650"/>
            <a:ext cx="4265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4" name="Line 66"/>
          <p:cNvSpPr>
            <a:spLocks noChangeShapeType="1"/>
          </p:cNvSpPr>
          <p:nvPr/>
        </p:nvSpPr>
        <p:spPr bwMode="auto">
          <a:xfrm>
            <a:off x="3928004" y="4851400"/>
            <a:ext cx="128124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5" name="Line 67"/>
          <p:cNvSpPr>
            <a:spLocks noChangeShapeType="1"/>
          </p:cNvSpPr>
          <p:nvPr/>
        </p:nvSpPr>
        <p:spPr bwMode="auto">
          <a:xfrm>
            <a:off x="3926290" y="5049838"/>
            <a:ext cx="128296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6" name="Line 68"/>
          <p:cNvSpPr>
            <a:spLocks noChangeShapeType="1"/>
          </p:cNvSpPr>
          <p:nvPr/>
        </p:nvSpPr>
        <p:spPr bwMode="auto">
          <a:xfrm>
            <a:off x="5422504" y="465296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7" name="Line 69"/>
          <p:cNvSpPr>
            <a:spLocks noChangeShapeType="1"/>
          </p:cNvSpPr>
          <p:nvPr/>
        </p:nvSpPr>
        <p:spPr bwMode="auto">
          <a:xfrm>
            <a:off x="3928004" y="4652972"/>
            <a:ext cx="0" cy="5984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8" name="Line 70"/>
          <p:cNvSpPr>
            <a:spLocks noChangeShapeType="1"/>
          </p:cNvSpPr>
          <p:nvPr/>
        </p:nvSpPr>
        <p:spPr bwMode="auto">
          <a:xfrm flipH="1">
            <a:off x="5637477" y="4652963"/>
            <a:ext cx="172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39" name="Line 71"/>
          <p:cNvSpPr>
            <a:spLocks noChangeShapeType="1"/>
          </p:cNvSpPr>
          <p:nvPr/>
        </p:nvSpPr>
        <p:spPr bwMode="auto">
          <a:xfrm flipH="1">
            <a:off x="5850731" y="4652963"/>
            <a:ext cx="172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0" name="Line 72"/>
          <p:cNvSpPr>
            <a:spLocks noChangeShapeType="1"/>
          </p:cNvSpPr>
          <p:nvPr/>
        </p:nvSpPr>
        <p:spPr bwMode="auto">
          <a:xfrm>
            <a:off x="6063985" y="465296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1" name="Line 73"/>
          <p:cNvSpPr>
            <a:spLocks noChangeShapeType="1"/>
          </p:cNvSpPr>
          <p:nvPr/>
        </p:nvSpPr>
        <p:spPr bwMode="auto">
          <a:xfrm>
            <a:off x="6278965" y="4652972"/>
            <a:ext cx="1719" cy="5984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2" name="Line 74"/>
          <p:cNvSpPr>
            <a:spLocks noChangeShapeType="1"/>
          </p:cNvSpPr>
          <p:nvPr/>
        </p:nvSpPr>
        <p:spPr bwMode="auto">
          <a:xfrm>
            <a:off x="6490494" y="465296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3" name="Line 75"/>
          <p:cNvSpPr>
            <a:spLocks noChangeShapeType="1"/>
          </p:cNvSpPr>
          <p:nvPr/>
        </p:nvSpPr>
        <p:spPr bwMode="auto">
          <a:xfrm>
            <a:off x="6707188" y="4652963"/>
            <a:ext cx="1720" cy="6032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4" name="Line 76"/>
          <p:cNvSpPr>
            <a:spLocks noChangeShapeType="1"/>
          </p:cNvSpPr>
          <p:nvPr/>
        </p:nvSpPr>
        <p:spPr bwMode="auto">
          <a:xfrm>
            <a:off x="5210969" y="4851400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5" name="Line 77"/>
          <p:cNvSpPr>
            <a:spLocks noChangeShapeType="1"/>
          </p:cNvSpPr>
          <p:nvPr/>
        </p:nvSpPr>
        <p:spPr bwMode="auto">
          <a:xfrm>
            <a:off x="5210969" y="5049838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6" name="Line 78"/>
          <p:cNvSpPr>
            <a:spLocks noChangeShapeType="1"/>
          </p:cNvSpPr>
          <p:nvPr/>
        </p:nvSpPr>
        <p:spPr bwMode="auto">
          <a:xfrm>
            <a:off x="7775179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7" name="Line 79"/>
          <p:cNvSpPr>
            <a:spLocks noChangeShapeType="1"/>
          </p:cNvSpPr>
          <p:nvPr/>
        </p:nvSpPr>
        <p:spPr bwMode="auto">
          <a:xfrm>
            <a:off x="7988433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8" name="Line 80"/>
          <p:cNvSpPr>
            <a:spLocks noChangeShapeType="1"/>
          </p:cNvSpPr>
          <p:nvPr/>
        </p:nvSpPr>
        <p:spPr bwMode="auto">
          <a:xfrm flipV="1">
            <a:off x="6277240" y="127635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49" name="Line 81"/>
          <p:cNvSpPr>
            <a:spLocks noChangeShapeType="1"/>
          </p:cNvSpPr>
          <p:nvPr/>
        </p:nvSpPr>
        <p:spPr bwMode="auto">
          <a:xfrm>
            <a:off x="2861733" y="3063875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0" name="Line 82"/>
          <p:cNvSpPr>
            <a:spLocks noChangeShapeType="1"/>
          </p:cNvSpPr>
          <p:nvPr/>
        </p:nvSpPr>
        <p:spPr bwMode="auto">
          <a:xfrm>
            <a:off x="3288242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1" name="Line 83"/>
          <p:cNvSpPr>
            <a:spLocks noChangeShapeType="1"/>
          </p:cNvSpPr>
          <p:nvPr/>
        </p:nvSpPr>
        <p:spPr bwMode="auto">
          <a:xfrm>
            <a:off x="2861733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2" name="Line 84"/>
          <p:cNvSpPr>
            <a:spLocks noChangeShapeType="1"/>
          </p:cNvSpPr>
          <p:nvPr/>
        </p:nvSpPr>
        <p:spPr bwMode="auto">
          <a:xfrm>
            <a:off x="2861733" y="4652963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3" name="Line 85"/>
          <p:cNvSpPr>
            <a:spLocks noChangeShapeType="1"/>
          </p:cNvSpPr>
          <p:nvPr/>
        </p:nvSpPr>
        <p:spPr bwMode="auto">
          <a:xfrm>
            <a:off x="2861733" y="4652972"/>
            <a:ext cx="0" cy="3175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4" name="Line 86"/>
          <p:cNvSpPr>
            <a:spLocks noChangeShapeType="1"/>
          </p:cNvSpPr>
          <p:nvPr/>
        </p:nvSpPr>
        <p:spPr bwMode="auto">
          <a:xfrm>
            <a:off x="2861733" y="4652972"/>
            <a:ext cx="0" cy="5937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5" name="Line 87"/>
          <p:cNvSpPr>
            <a:spLocks noChangeShapeType="1"/>
          </p:cNvSpPr>
          <p:nvPr/>
        </p:nvSpPr>
        <p:spPr bwMode="auto">
          <a:xfrm>
            <a:off x="5210969" y="4652963"/>
            <a:ext cx="1720" cy="6143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6" name="Line 88"/>
          <p:cNvSpPr>
            <a:spLocks noChangeShapeType="1"/>
          </p:cNvSpPr>
          <p:nvPr/>
        </p:nvSpPr>
        <p:spPr bwMode="auto">
          <a:xfrm>
            <a:off x="7560204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7" name="Line 89"/>
          <p:cNvSpPr>
            <a:spLocks noChangeShapeType="1"/>
          </p:cNvSpPr>
          <p:nvPr/>
        </p:nvSpPr>
        <p:spPr bwMode="auto">
          <a:xfrm>
            <a:off x="3714750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8" name="Line 90"/>
          <p:cNvSpPr>
            <a:spLocks noChangeShapeType="1"/>
          </p:cNvSpPr>
          <p:nvPr/>
        </p:nvSpPr>
        <p:spPr bwMode="auto">
          <a:xfrm>
            <a:off x="3714750" y="3262313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59" name="Line 91"/>
          <p:cNvSpPr>
            <a:spLocks noChangeShapeType="1"/>
          </p:cNvSpPr>
          <p:nvPr/>
        </p:nvSpPr>
        <p:spPr bwMode="auto">
          <a:xfrm>
            <a:off x="3714750" y="346075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0" name="Line 92"/>
          <p:cNvSpPr>
            <a:spLocks noChangeShapeType="1"/>
          </p:cNvSpPr>
          <p:nvPr/>
        </p:nvSpPr>
        <p:spPr bwMode="auto">
          <a:xfrm>
            <a:off x="3714750" y="366077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1" name="Line 93"/>
          <p:cNvSpPr>
            <a:spLocks noChangeShapeType="1"/>
          </p:cNvSpPr>
          <p:nvPr/>
        </p:nvSpPr>
        <p:spPr bwMode="auto">
          <a:xfrm>
            <a:off x="3714750" y="385762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2" name="Line 94"/>
          <p:cNvSpPr>
            <a:spLocks noChangeShapeType="1"/>
          </p:cNvSpPr>
          <p:nvPr/>
        </p:nvSpPr>
        <p:spPr bwMode="auto">
          <a:xfrm>
            <a:off x="3714750" y="405765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3" name="Line 95"/>
          <p:cNvSpPr>
            <a:spLocks noChangeShapeType="1"/>
          </p:cNvSpPr>
          <p:nvPr/>
        </p:nvSpPr>
        <p:spPr bwMode="auto">
          <a:xfrm>
            <a:off x="3714750" y="425450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4" name="Line 96"/>
          <p:cNvSpPr>
            <a:spLocks noChangeShapeType="1"/>
          </p:cNvSpPr>
          <p:nvPr/>
        </p:nvSpPr>
        <p:spPr bwMode="auto">
          <a:xfrm>
            <a:off x="3714750" y="445452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5" name="Line 97"/>
          <p:cNvSpPr>
            <a:spLocks noChangeShapeType="1"/>
          </p:cNvSpPr>
          <p:nvPr/>
        </p:nvSpPr>
        <p:spPr bwMode="auto">
          <a:xfrm>
            <a:off x="5210969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6" name="Line 98"/>
          <p:cNvSpPr>
            <a:spLocks noChangeShapeType="1"/>
          </p:cNvSpPr>
          <p:nvPr/>
        </p:nvSpPr>
        <p:spPr bwMode="auto">
          <a:xfrm>
            <a:off x="5210969" y="4652963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7" name="Line 99"/>
          <p:cNvSpPr>
            <a:spLocks noChangeShapeType="1"/>
          </p:cNvSpPr>
          <p:nvPr/>
        </p:nvSpPr>
        <p:spPr bwMode="auto">
          <a:xfrm>
            <a:off x="6918722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8" name="Line 100"/>
          <p:cNvSpPr>
            <a:spLocks noChangeShapeType="1"/>
          </p:cNvSpPr>
          <p:nvPr/>
        </p:nvSpPr>
        <p:spPr bwMode="auto">
          <a:xfrm>
            <a:off x="5422504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69" name="Line 101"/>
          <p:cNvSpPr>
            <a:spLocks noChangeShapeType="1"/>
          </p:cNvSpPr>
          <p:nvPr/>
        </p:nvSpPr>
        <p:spPr bwMode="auto">
          <a:xfrm>
            <a:off x="5637477" y="1673234"/>
            <a:ext cx="0" cy="13874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0" name="Line 102"/>
          <p:cNvSpPr>
            <a:spLocks noChangeShapeType="1"/>
          </p:cNvSpPr>
          <p:nvPr/>
        </p:nvSpPr>
        <p:spPr bwMode="auto">
          <a:xfrm>
            <a:off x="5850731" y="1673234"/>
            <a:ext cx="0" cy="13874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1" name="Line 103"/>
          <p:cNvSpPr>
            <a:spLocks noChangeShapeType="1"/>
          </p:cNvSpPr>
          <p:nvPr/>
        </p:nvSpPr>
        <p:spPr bwMode="auto">
          <a:xfrm>
            <a:off x="6063985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2" name="Line 104"/>
          <p:cNvSpPr>
            <a:spLocks noChangeShapeType="1"/>
          </p:cNvSpPr>
          <p:nvPr/>
        </p:nvSpPr>
        <p:spPr bwMode="auto">
          <a:xfrm>
            <a:off x="6277240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3" name="Line 105"/>
          <p:cNvSpPr>
            <a:spLocks noChangeShapeType="1"/>
          </p:cNvSpPr>
          <p:nvPr/>
        </p:nvSpPr>
        <p:spPr bwMode="auto">
          <a:xfrm>
            <a:off x="6490494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4" name="Line 106"/>
          <p:cNvSpPr>
            <a:spLocks noChangeShapeType="1"/>
          </p:cNvSpPr>
          <p:nvPr/>
        </p:nvSpPr>
        <p:spPr bwMode="auto">
          <a:xfrm>
            <a:off x="6703748" y="1673225"/>
            <a:ext cx="0" cy="13843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5" name="Line 107"/>
          <p:cNvSpPr>
            <a:spLocks noChangeShapeType="1"/>
          </p:cNvSpPr>
          <p:nvPr/>
        </p:nvSpPr>
        <p:spPr bwMode="auto">
          <a:xfrm>
            <a:off x="5210969" y="1673225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6" name="Line 108"/>
          <p:cNvSpPr>
            <a:spLocks noChangeShapeType="1"/>
          </p:cNvSpPr>
          <p:nvPr/>
        </p:nvSpPr>
        <p:spPr bwMode="auto">
          <a:xfrm>
            <a:off x="5210974" y="306387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7" name="Line 109"/>
          <p:cNvSpPr>
            <a:spLocks noChangeShapeType="1"/>
          </p:cNvSpPr>
          <p:nvPr/>
        </p:nvSpPr>
        <p:spPr bwMode="auto">
          <a:xfrm flipV="1">
            <a:off x="5210969" y="1679575"/>
            <a:ext cx="0" cy="13843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8" name="Line 110"/>
          <p:cNvSpPr>
            <a:spLocks noChangeShapeType="1"/>
          </p:cNvSpPr>
          <p:nvPr/>
        </p:nvSpPr>
        <p:spPr bwMode="auto">
          <a:xfrm>
            <a:off x="6918722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79" name="Rectangle 111"/>
          <p:cNvSpPr>
            <a:spLocks noChangeArrowheads="1"/>
          </p:cNvSpPr>
          <p:nvPr/>
        </p:nvSpPr>
        <p:spPr bwMode="auto">
          <a:xfrm rot="16200000">
            <a:off x="2345532" y="3687011"/>
            <a:ext cx="1500188" cy="425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</a:t>
            </a:r>
          </a:p>
        </p:txBody>
      </p:sp>
      <p:sp>
        <p:nvSpPr>
          <p:cNvPr id="32880" name="Line 112"/>
          <p:cNvSpPr>
            <a:spLocks noChangeShapeType="1"/>
          </p:cNvSpPr>
          <p:nvPr/>
        </p:nvSpPr>
        <p:spPr bwMode="auto">
          <a:xfrm>
            <a:off x="6918722" y="4652972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81" name="Rectangle 113"/>
          <p:cNvSpPr>
            <a:spLocks noChangeArrowheads="1"/>
          </p:cNvSpPr>
          <p:nvPr/>
        </p:nvSpPr>
        <p:spPr bwMode="auto">
          <a:xfrm rot="16200000">
            <a:off x="8209100" y="3567755"/>
            <a:ext cx="1457325" cy="563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8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oritized Customer</a:t>
            </a:r>
          </a:p>
          <a:p>
            <a:pPr algn="ctr" eaLnBrk="0" latinLnBrk="0" hangingPunct="0">
              <a:lnSpc>
                <a:spcPct val="8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32882" name="Line 114"/>
          <p:cNvSpPr>
            <a:spLocks noChangeShapeType="1"/>
          </p:cNvSpPr>
          <p:nvPr/>
        </p:nvSpPr>
        <p:spPr bwMode="auto">
          <a:xfrm>
            <a:off x="6918726" y="6440488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83" name="Line 115"/>
          <p:cNvSpPr>
            <a:spLocks noChangeShapeType="1"/>
          </p:cNvSpPr>
          <p:nvPr/>
        </p:nvSpPr>
        <p:spPr bwMode="auto">
          <a:xfrm flipV="1">
            <a:off x="5210969" y="127635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84" name="Line 116"/>
          <p:cNvSpPr>
            <a:spLocks noChangeShapeType="1"/>
          </p:cNvSpPr>
          <p:nvPr/>
        </p:nvSpPr>
        <p:spPr bwMode="auto">
          <a:xfrm>
            <a:off x="6918722" y="127635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85" name="Line 117"/>
          <p:cNvSpPr>
            <a:spLocks noChangeShapeType="1"/>
          </p:cNvSpPr>
          <p:nvPr/>
        </p:nvSpPr>
        <p:spPr bwMode="auto">
          <a:xfrm>
            <a:off x="5210969" y="1276350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86" name="Rectangle 118"/>
          <p:cNvSpPr>
            <a:spLocks noChangeArrowheads="1"/>
          </p:cNvSpPr>
          <p:nvPr/>
        </p:nvSpPr>
        <p:spPr bwMode="auto">
          <a:xfrm>
            <a:off x="5238485" y="887422"/>
            <a:ext cx="165100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</p:txBody>
      </p:sp>
      <p:sp>
        <p:nvSpPr>
          <p:cNvPr id="32887" name="Line 119"/>
          <p:cNvSpPr>
            <a:spLocks noChangeShapeType="1"/>
          </p:cNvSpPr>
          <p:nvPr/>
        </p:nvSpPr>
        <p:spPr bwMode="auto">
          <a:xfrm>
            <a:off x="7560205" y="3063875"/>
            <a:ext cx="63976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88" name="Line 120"/>
          <p:cNvSpPr>
            <a:spLocks noChangeShapeType="1"/>
          </p:cNvSpPr>
          <p:nvPr/>
        </p:nvSpPr>
        <p:spPr bwMode="auto">
          <a:xfrm>
            <a:off x="7560205" y="4652963"/>
            <a:ext cx="63976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89" name="Line 121"/>
          <p:cNvSpPr>
            <a:spLocks noChangeShapeType="1"/>
          </p:cNvSpPr>
          <p:nvPr/>
        </p:nvSpPr>
        <p:spPr bwMode="auto">
          <a:xfrm flipV="1">
            <a:off x="3713031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90" name="Line 122"/>
          <p:cNvSpPr>
            <a:spLocks noChangeShapeType="1"/>
          </p:cNvSpPr>
          <p:nvPr/>
        </p:nvSpPr>
        <p:spPr bwMode="auto">
          <a:xfrm flipV="1">
            <a:off x="3286522" y="1276359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91" name="Line 123"/>
          <p:cNvSpPr>
            <a:spLocks noChangeShapeType="1"/>
          </p:cNvSpPr>
          <p:nvPr/>
        </p:nvSpPr>
        <p:spPr bwMode="auto">
          <a:xfrm>
            <a:off x="3713036" y="1673225"/>
            <a:ext cx="149621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92" name="Line 124"/>
          <p:cNvSpPr>
            <a:spLocks noChangeShapeType="1"/>
          </p:cNvSpPr>
          <p:nvPr/>
        </p:nvSpPr>
        <p:spPr bwMode="auto">
          <a:xfrm>
            <a:off x="3286527" y="1276359"/>
            <a:ext cx="1922727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893" name="Rectangle 125"/>
          <p:cNvSpPr>
            <a:spLocks noChangeArrowheads="1"/>
          </p:cNvSpPr>
          <p:nvPr/>
        </p:nvSpPr>
        <p:spPr bwMode="auto">
          <a:xfrm>
            <a:off x="4406157" y="1331922"/>
            <a:ext cx="756617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32894" name="Rectangle 126"/>
          <p:cNvSpPr>
            <a:spLocks noChangeArrowheads="1"/>
          </p:cNvSpPr>
          <p:nvPr/>
        </p:nvSpPr>
        <p:spPr bwMode="auto">
          <a:xfrm rot="16200000">
            <a:off x="3099975" y="2547235"/>
            <a:ext cx="756617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32895" name="Rectangle 127"/>
          <p:cNvSpPr>
            <a:spLocks noChangeArrowheads="1"/>
          </p:cNvSpPr>
          <p:nvPr/>
        </p:nvSpPr>
        <p:spPr bwMode="auto">
          <a:xfrm rot="16200000">
            <a:off x="3463792" y="2432141"/>
            <a:ext cx="971420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32896" name="Rectangle 128"/>
          <p:cNvSpPr>
            <a:spLocks noChangeArrowheads="1"/>
          </p:cNvSpPr>
          <p:nvPr/>
        </p:nvSpPr>
        <p:spPr bwMode="auto">
          <a:xfrm>
            <a:off x="4168906" y="1778004"/>
            <a:ext cx="971420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32897" name="Rectangle 129"/>
          <p:cNvSpPr>
            <a:spLocks noChangeArrowheads="1"/>
          </p:cNvSpPr>
          <p:nvPr/>
        </p:nvSpPr>
        <p:spPr bwMode="auto">
          <a:xfrm>
            <a:off x="2850655" y="4673609"/>
            <a:ext cx="1088438" cy="53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32898" name="Rectangle 130"/>
          <p:cNvSpPr>
            <a:spLocks noChangeArrowheads="1"/>
          </p:cNvSpPr>
          <p:nvPr/>
        </p:nvSpPr>
        <p:spPr bwMode="auto">
          <a:xfrm rot="16200000">
            <a:off x="6689226" y="5662818"/>
            <a:ext cx="1088438" cy="53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32899" name="Line 131"/>
          <p:cNvSpPr>
            <a:spLocks noChangeShapeType="1"/>
          </p:cNvSpPr>
          <p:nvPr/>
        </p:nvSpPr>
        <p:spPr bwMode="auto">
          <a:xfrm>
            <a:off x="7133696" y="4652963"/>
            <a:ext cx="0" cy="7937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0" name="Line 132"/>
          <p:cNvSpPr>
            <a:spLocks noChangeShapeType="1"/>
          </p:cNvSpPr>
          <p:nvPr/>
        </p:nvSpPr>
        <p:spPr bwMode="auto">
          <a:xfrm>
            <a:off x="7346950" y="4652963"/>
            <a:ext cx="0" cy="7937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1" name="Line 133"/>
          <p:cNvSpPr>
            <a:spLocks noChangeShapeType="1"/>
          </p:cNvSpPr>
          <p:nvPr/>
        </p:nvSpPr>
        <p:spPr bwMode="auto">
          <a:xfrm>
            <a:off x="7560204" y="4652972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2" name="Line 134"/>
          <p:cNvSpPr>
            <a:spLocks noChangeShapeType="1"/>
          </p:cNvSpPr>
          <p:nvPr/>
        </p:nvSpPr>
        <p:spPr bwMode="auto">
          <a:xfrm>
            <a:off x="7560204" y="6440488"/>
            <a:ext cx="64148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3" name="Line 135"/>
          <p:cNvSpPr>
            <a:spLocks noChangeShapeType="1"/>
          </p:cNvSpPr>
          <p:nvPr/>
        </p:nvSpPr>
        <p:spPr bwMode="auto">
          <a:xfrm>
            <a:off x="6918726" y="5446713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4" name="Rectangle 136"/>
          <p:cNvSpPr>
            <a:spLocks noChangeArrowheads="1"/>
          </p:cNvSpPr>
          <p:nvPr/>
        </p:nvSpPr>
        <p:spPr bwMode="auto">
          <a:xfrm>
            <a:off x="3903928" y="4629150"/>
            <a:ext cx="593329" cy="668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sp>
        <p:nvSpPr>
          <p:cNvPr id="32905" name="Line 137"/>
          <p:cNvSpPr>
            <a:spLocks noChangeShapeType="1"/>
          </p:cNvSpPr>
          <p:nvPr/>
        </p:nvSpPr>
        <p:spPr bwMode="auto">
          <a:xfrm>
            <a:off x="8628195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6" name="Line 138"/>
          <p:cNvSpPr>
            <a:spLocks noChangeShapeType="1"/>
          </p:cNvSpPr>
          <p:nvPr/>
        </p:nvSpPr>
        <p:spPr bwMode="auto">
          <a:xfrm>
            <a:off x="8628195" y="4652963"/>
            <a:ext cx="0" cy="17827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7" name="Line 139"/>
          <p:cNvSpPr>
            <a:spLocks noChangeShapeType="1"/>
          </p:cNvSpPr>
          <p:nvPr/>
        </p:nvSpPr>
        <p:spPr bwMode="auto">
          <a:xfrm flipH="1">
            <a:off x="8199971" y="6440488"/>
            <a:ext cx="42822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8" name="Line 140"/>
          <p:cNvSpPr>
            <a:spLocks noChangeShapeType="1"/>
          </p:cNvSpPr>
          <p:nvPr/>
        </p:nvSpPr>
        <p:spPr bwMode="auto">
          <a:xfrm flipV="1">
            <a:off x="8199971" y="3062297"/>
            <a:ext cx="1019837" cy="15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09" name="Line 141"/>
          <p:cNvSpPr>
            <a:spLocks noChangeShapeType="1"/>
          </p:cNvSpPr>
          <p:nvPr/>
        </p:nvSpPr>
        <p:spPr bwMode="auto">
          <a:xfrm>
            <a:off x="8199971" y="4652963"/>
            <a:ext cx="42822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0" name="Line 142"/>
          <p:cNvSpPr>
            <a:spLocks noChangeShapeType="1"/>
          </p:cNvSpPr>
          <p:nvPr/>
        </p:nvSpPr>
        <p:spPr bwMode="auto">
          <a:xfrm>
            <a:off x="8609282" y="4652963"/>
            <a:ext cx="61052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1" name="Line 143"/>
          <p:cNvSpPr>
            <a:spLocks noChangeShapeType="1"/>
          </p:cNvSpPr>
          <p:nvPr/>
        </p:nvSpPr>
        <p:spPr bwMode="auto">
          <a:xfrm>
            <a:off x="7560204" y="3262313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2" name="Line 144"/>
          <p:cNvSpPr>
            <a:spLocks noChangeShapeType="1"/>
          </p:cNvSpPr>
          <p:nvPr/>
        </p:nvSpPr>
        <p:spPr bwMode="auto">
          <a:xfrm>
            <a:off x="7560204" y="385762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3" name="Line 145"/>
          <p:cNvSpPr>
            <a:spLocks noChangeShapeType="1"/>
          </p:cNvSpPr>
          <p:nvPr/>
        </p:nvSpPr>
        <p:spPr bwMode="auto">
          <a:xfrm>
            <a:off x="7560204" y="405765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4" name="Line 146"/>
          <p:cNvSpPr>
            <a:spLocks noChangeShapeType="1"/>
          </p:cNvSpPr>
          <p:nvPr/>
        </p:nvSpPr>
        <p:spPr bwMode="auto">
          <a:xfrm>
            <a:off x="7560204" y="425450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5" name="Line 147"/>
          <p:cNvSpPr>
            <a:spLocks noChangeShapeType="1"/>
          </p:cNvSpPr>
          <p:nvPr/>
        </p:nvSpPr>
        <p:spPr bwMode="auto">
          <a:xfrm>
            <a:off x="7560204" y="445452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6" name="Line 148"/>
          <p:cNvSpPr>
            <a:spLocks noChangeShapeType="1"/>
          </p:cNvSpPr>
          <p:nvPr/>
        </p:nvSpPr>
        <p:spPr bwMode="auto">
          <a:xfrm>
            <a:off x="7560204" y="346075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7" name="Line 149"/>
          <p:cNvSpPr>
            <a:spLocks noChangeShapeType="1"/>
          </p:cNvSpPr>
          <p:nvPr/>
        </p:nvSpPr>
        <p:spPr bwMode="auto">
          <a:xfrm>
            <a:off x="7560204" y="366077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8" name="Line 150"/>
          <p:cNvSpPr>
            <a:spLocks noChangeShapeType="1"/>
          </p:cNvSpPr>
          <p:nvPr/>
        </p:nvSpPr>
        <p:spPr bwMode="auto">
          <a:xfrm>
            <a:off x="5637477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19" name="Rectangle 151"/>
          <p:cNvSpPr>
            <a:spLocks noChangeArrowheads="1"/>
          </p:cNvSpPr>
          <p:nvPr/>
        </p:nvSpPr>
        <p:spPr bwMode="auto">
          <a:xfrm rot="16200000">
            <a:off x="7219885" y="5026606"/>
            <a:ext cx="1758950" cy="1062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Importance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arget Value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cale-up Facto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ales Point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bsolute Weight</a:t>
            </a:r>
          </a:p>
        </p:txBody>
      </p:sp>
      <p:sp>
        <p:nvSpPr>
          <p:cNvPr id="32920" name="Line 152"/>
          <p:cNvSpPr>
            <a:spLocks noChangeShapeType="1"/>
          </p:cNvSpPr>
          <p:nvPr/>
        </p:nvSpPr>
        <p:spPr bwMode="auto">
          <a:xfrm>
            <a:off x="8414941" y="306388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1" name="Line 153"/>
          <p:cNvSpPr>
            <a:spLocks noChangeShapeType="1"/>
          </p:cNvSpPr>
          <p:nvPr/>
        </p:nvSpPr>
        <p:spPr bwMode="auto">
          <a:xfrm>
            <a:off x="2860014" y="5248275"/>
            <a:ext cx="40587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2" name="Line 154"/>
          <p:cNvSpPr>
            <a:spLocks noChangeShapeType="1"/>
          </p:cNvSpPr>
          <p:nvPr/>
        </p:nvSpPr>
        <p:spPr bwMode="auto">
          <a:xfrm>
            <a:off x="9223243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3" name="Line 155"/>
          <p:cNvSpPr>
            <a:spLocks noChangeShapeType="1"/>
          </p:cNvSpPr>
          <p:nvPr/>
        </p:nvSpPr>
        <p:spPr bwMode="auto">
          <a:xfrm>
            <a:off x="6918722" y="879484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4" name="Line 156"/>
          <p:cNvSpPr>
            <a:spLocks noChangeShapeType="1"/>
          </p:cNvSpPr>
          <p:nvPr/>
        </p:nvSpPr>
        <p:spPr bwMode="auto">
          <a:xfrm>
            <a:off x="7773458" y="3063875"/>
            <a:ext cx="0" cy="33718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5" name="Line 157"/>
          <p:cNvSpPr>
            <a:spLocks noChangeShapeType="1"/>
          </p:cNvSpPr>
          <p:nvPr/>
        </p:nvSpPr>
        <p:spPr bwMode="auto">
          <a:xfrm>
            <a:off x="7986713" y="306388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6" name="Line 158"/>
          <p:cNvSpPr>
            <a:spLocks noChangeShapeType="1"/>
          </p:cNvSpPr>
          <p:nvPr/>
        </p:nvSpPr>
        <p:spPr bwMode="auto">
          <a:xfrm>
            <a:off x="8199967" y="306388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7" name="Line 159"/>
          <p:cNvSpPr>
            <a:spLocks noChangeShapeType="1"/>
          </p:cNvSpPr>
          <p:nvPr/>
        </p:nvSpPr>
        <p:spPr bwMode="auto">
          <a:xfrm>
            <a:off x="6918726" y="4652963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8" name="Line 160"/>
          <p:cNvSpPr>
            <a:spLocks noChangeShapeType="1"/>
          </p:cNvSpPr>
          <p:nvPr/>
        </p:nvSpPr>
        <p:spPr bwMode="auto">
          <a:xfrm>
            <a:off x="5210969" y="879475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29" name="Line 161"/>
          <p:cNvSpPr>
            <a:spLocks noChangeShapeType="1"/>
          </p:cNvSpPr>
          <p:nvPr/>
        </p:nvSpPr>
        <p:spPr bwMode="auto">
          <a:xfrm>
            <a:off x="3286522" y="1276350"/>
            <a:ext cx="191928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30" name="Line 162"/>
          <p:cNvSpPr>
            <a:spLocks noChangeShapeType="1"/>
          </p:cNvSpPr>
          <p:nvPr/>
        </p:nvSpPr>
        <p:spPr bwMode="auto">
          <a:xfrm flipV="1">
            <a:off x="5210969" y="879484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2931" name="Rectangle 163"/>
          <p:cNvSpPr>
            <a:spLocks noChangeArrowheads="1"/>
          </p:cNvSpPr>
          <p:nvPr/>
        </p:nvSpPr>
        <p:spPr bwMode="auto">
          <a:xfrm rot="16200000">
            <a:off x="6979378" y="4730761"/>
            <a:ext cx="547688" cy="674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grpSp>
        <p:nvGrpSpPr>
          <p:cNvPr id="32945" name="Group 177"/>
          <p:cNvGrpSpPr>
            <a:grpSpLocks/>
          </p:cNvGrpSpPr>
          <p:nvPr/>
        </p:nvGrpSpPr>
        <p:grpSpPr bwMode="auto">
          <a:xfrm>
            <a:off x="6812100" y="676275"/>
            <a:ext cx="3035432" cy="2192338"/>
            <a:chOff x="3961" y="426"/>
            <a:chExt cx="1765" cy="1381"/>
          </a:xfrm>
        </p:grpSpPr>
        <p:sp>
          <p:nvSpPr>
            <p:cNvPr id="32932" name="Rectangle 164"/>
            <p:cNvSpPr>
              <a:spLocks noChangeArrowheads="1"/>
            </p:cNvSpPr>
            <p:nvPr/>
          </p:nvSpPr>
          <p:spPr bwMode="auto">
            <a:xfrm>
              <a:off x="3961" y="426"/>
              <a:ext cx="1765" cy="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Relationship between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Customer Requirements and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Technical Descriptors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HATs vs. HOWs</a:t>
              </a:r>
            </a:p>
          </p:txBody>
        </p:sp>
        <p:sp>
          <p:nvSpPr>
            <p:cNvPr id="32933" name="Rectangle 165"/>
            <p:cNvSpPr>
              <a:spLocks noChangeArrowheads="1"/>
            </p:cNvSpPr>
            <p:nvPr/>
          </p:nvSpPr>
          <p:spPr bwMode="auto">
            <a:xfrm>
              <a:off x="4779" y="1321"/>
              <a:ext cx="444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</a:t>
              </a:r>
            </a:p>
          </p:txBody>
        </p:sp>
        <p:sp>
          <p:nvSpPr>
            <p:cNvPr id="32934" name="Rectangle 166"/>
            <p:cNvSpPr>
              <a:spLocks noChangeArrowheads="1"/>
            </p:cNvSpPr>
            <p:nvPr/>
          </p:nvSpPr>
          <p:spPr bwMode="auto">
            <a:xfrm>
              <a:off x="4777" y="1464"/>
              <a:ext cx="501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Medium</a:t>
              </a:r>
            </a:p>
          </p:txBody>
        </p:sp>
        <p:sp>
          <p:nvSpPr>
            <p:cNvPr id="32935" name="Rectangle 167"/>
            <p:cNvSpPr>
              <a:spLocks noChangeArrowheads="1"/>
            </p:cNvSpPr>
            <p:nvPr/>
          </p:nvSpPr>
          <p:spPr bwMode="auto">
            <a:xfrm>
              <a:off x="4777" y="1616"/>
              <a:ext cx="378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eak</a:t>
              </a:r>
            </a:p>
          </p:txBody>
        </p:sp>
        <p:sp>
          <p:nvSpPr>
            <p:cNvPr id="32936" name="Oval 168"/>
            <p:cNvSpPr>
              <a:spLocks noChangeArrowheads="1"/>
            </p:cNvSpPr>
            <p:nvPr/>
          </p:nvSpPr>
          <p:spPr bwMode="auto">
            <a:xfrm>
              <a:off x="4701" y="1482"/>
              <a:ext cx="60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32939" name="Group 171"/>
            <p:cNvGrpSpPr>
              <a:grpSpLocks/>
            </p:cNvGrpSpPr>
            <p:nvPr/>
          </p:nvGrpSpPr>
          <p:grpSpPr bwMode="auto">
            <a:xfrm>
              <a:off x="4697" y="1337"/>
              <a:ext cx="60" cy="64"/>
              <a:chOff x="4697" y="1337"/>
              <a:chExt cx="60" cy="64"/>
            </a:xfrm>
          </p:grpSpPr>
          <p:sp>
            <p:nvSpPr>
              <p:cNvPr id="32937" name="Oval 169"/>
              <p:cNvSpPr>
                <a:spLocks noChangeArrowheads="1"/>
              </p:cNvSpPr>
              <p:nvPr/>
            </p:nvSpPr>
            <p:spPr bwMode="auto">
              <a:xfrm>
                <a:off x="4697" y="1337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32938" name="Oval 170"/>
              <p:cNvSpPr>
                <a:spLocks noChangeArrowheads="1"/>
              </p:cNvSpPr>
              <p:nvPr/>
            </p:nvSpPr>
            <p:spPr bwMode="auto">
              <a:xfrm>
                <a:off x="4714" y="1355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32940" name="Rectangle 172"/>
            <p:cNvSpPr>
              <a:spLocks noChangeArrowheads="1"/>
            </p:cNvSpPr>
            <p:nvPr/>
          </p:nvSpPr>
          <p:spPr bwMode="auto">
            <a:xfrm>
              <a:off x="4441" y="1321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32941" name="Rectangle 173"/>
            <p:cNvSpPr>
              <a:spLocks noChangeArrowheads="1"/>
            </p:cNvSpPr>
            <p:nvPr/>
          </p:nvSpPr>
          <p:spPr bwMode="auto">
            <a:xfrm>
              <a:off x="4441" y="1464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32942" name="Rectangle 174"/>
            <p:cNvSpPr>
              <a:spLocks noChangeArrowheads="1"/>
            </p:cNvSpPr>
            <p:nvPr/>
          </p:nvSpPr>
          <p:spPr bwMode="auto">
            <a:xfrm>
              <a:off x="4435" y="1286"/>
              <a:ext cx="803" cy="521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32943" name="Rectangle 175"/>
            <p:cNvSpPr>
              <a:spLocks noChangeArrowheads="1"/>
            </p:cNvSpPr>
            <p:nvPr/>
          </p:nvSpPr>
          <p:spPr bwMode="auto">
            <a:xfrm>
              <a:off x="4441" y="1616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1</a:t>
              </a:r>
            </a:p>
          </p:txBody>
        </p:sp>
        <p:sp>
          <p:nvSpPr>
            <p:cNvPr id="32944" name="AutoShape 176"/>
            <p:cNvSpPr>
              <a:spLocks noChangeArrowheads="1"/>
            </p:cNvSpPr>
            <p:nvPr/>
          </p:nvSpPr>
          <p:spPr bwMode="auto">
            <a:xfrm>
              <a:off x="4704" y="1632"/>
              <a:ext cx="60" cy="6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32967" name="Group 199"/>
          <p:cNvGrpSpPr>
            <a:grpSpLocks/>
          </p:cNvGrpSpPr>
          <p:nvPr/>
        </p:nvGrpSpPr>
        <p:grpSpPr bwMode="auto">
          <a:xfrm>
            <a:off x="319881" y="2728922"/>
            <a:ext cx="2292483" cy="1100137"/>
            <a:chOff x="186" y="1719"/>
            <a:chExt cx="1333" cy="693"/>
          </a:xfrm>
        </p:grpSpPr>
        <p:sp>
          <p:nvSpPr>
            <p:cNvPr id="32946" name="Rectangle 178"/>
            <p:cNvSpPr>
              <a:spLocks noChangeArrowheads="1"/>
            </p:cNvSpPr>
            <p:nvPr/>
          </p:nvSpPr>
          <p:spPr bwMode="auto">
            <a:xfrm>
              <a:off x="529" y="1783"/>
              <a:ext cx="872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 Positive</a:t>
              </a:r>
            </a:p>
          </p:txBody>
        </p:sp>
        <p:sp>
          <p:nvSpPr>
            <p:cNvPr id="32947" name="Rectangle 179"/>
            <p:cNvSpPr>
              <a:spLocks noChangeArrowheads="1"/>
            </p:cNvSpPr>
            <p:nvPr/>
          </p:nvSpPr>
          <p:spPr bwMode="auto">
            <a:xfrm>
              <a:off x="528" y="1926"/>
              <a:ext cx="507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Positive</a:t>
              </a:r>
            </a:p>
          </p:txBody>
        </p:sp>
        <p:sp>
          <p:nvSpPr>
            <p:cNvPr id="32948" name="Rectangle 180"/>
            <p:cNvSpPr>
              <a:spLocks noChangeArrowheads="1"/>
            </p:cNvSpPr>
            <p:nvPr/>
          </p:nvSpPr>
          <p:spPr bwMode="auto">
            <a:xfrm>
              <a:off x="528" y="2078"/>
              <a:ext cx="542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Negative</a:t>
              </a:r>
            </a:p>
          </p:txBody>
        </p:sp>
        <p:sp>
          <p:nvSpPr>
            <p:cNvPr id="32949" name="Oval 181"/>
            <p:cNvSpPr>
              <a:spLocks noChangeArrowheads="1"/>
            </p:cNvSpPr>
            <p:nvPr/>
          </p:nvSpPr>
          <p:spPr bwMode="auto">
            <a:xfrm>
              <a:off x="452" y="1944"/>
              <a:ext cx="59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32952" name="Group 184"/>
            <p:cNvGrpSpPr>
              <a:grpSpLocks/>
            </p:cNvGrpSpPr>
            <p:nvPr/>
          </p:nvGrpSpPr>
          <p:grpSpPr bwMode="auto">
            <a:xfrm>
              <a:off x="448" y="1799"/>
              <a:ext cx="59" cy="64"/>
              <a:chOff x="448" y="1799"/>
              <a:chExt cx="59" cy="64"/>
            </a:xfrm>
          </p:grpSpPr>
          <p:sp>
            <p:nvSpPr>
              <p:cNvPr id="32950" name="Oval 182"/>
              <p:cNvSpPr>
                <a:spLocks noChangeArrowheads="1"/>
              </p:cNvSpPr>
              <p:nvPr/>
            </p:nvSpPr>
            <p:spPr bwMode="auto">
              <a:xfrm>
                <a:off x="448" y="1799"/>
                <a:ext cx="59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32951" name="Oval 183"/>
              <p:cNvSpPr>
                <a:spLocks noChangeArrowheads="1"/>
              </p:cNvSpPr>
              <p:nvPr/>
            </p:nvSpPr>
            <p:spPr bwMode="auto">
              <a:xfrm>
                <a:off x="465" y="1817"/>
                <a:ext cx="25" cy="30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32957" name="Group 189"/>
            <p:cNvGrpSpPr>
              <a:grpSpLocks/>
            </p:cNvGrpSpPr>
            <p:nvPr/>
          </p:nvGrpSpPr>
          <p:grpSpPr bwMode="auto">
            <a:xfrm>
              <a:off x="452" y="2225"/>
              <a:ext cx="68" cy="71"/>
              <a:chOff x="452" y="2225"/>
              <a:chExt cx="68" cy="71"/>
            </a:xfrm>
          </p:grpSpPr>
          <p:sp>
            <p:nvSpPr>
              <p:cNvPr id="32953" name="Line 185"/>
              <p:cNvSpPr>
                <a:spLocks noChangeShapeType="1"/>
              </p:cNvSpPr>
              <p:nvPr/>
            </p:nvSpPr>
            <p:spPr bwMode="auto">
              <a:xfrm>
                <a:off x="452" y="2260"/>
                <a:ext cx="68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32954" name="Line 186"/>
              <p:cNvSpPr>
                <a:spLocks noChangeShapeType="1"/>
              </p:cNvSpPr>
              <p:nvPr/>
            </p:nvSpPr>
            <p:spPr bwMode="auto">
              <a:xfrm>
                <a:off x="486" y="2225"/>
                <a:ext cx="0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32955" name="Line 187"/>
              <p:cNvSpPr>
                <a:spLocks noChangeShapeType="1"/>
              </p:cNvSpPr>
              <p:nvPr/>
            </p:nvSpPr>
            <p:spPr bwMode="auto">
              <a:xfrm flipV="1">
                <a:off x="452" y="2225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32956" name="Line 188"/>
              <p:cNvSpPr>
                <a:spLocks noChangeShapeType="1"/>
              </p:cNvSpPr>
              <p:nvPr/>
            </p:nvSpPr>
            <p:spPr bwMode="auto">
              <a:xfrm flipH="1" flipV="1">
                <a:off x="452" y="2225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32960" name="Group 192"/>
            <p:cNvGrpSpPr>
              <a:grpSpLocks/>
            </p:cNvGrpSpPr>
            <p:nvPr/>
          </p:nvGrpSpPr>
          <p:grpSpPr bwMode="auto">
            <a:xfrm>
              <a:off x="452" y="2082"/>
              <a:ext cx="68" cy="71"/>
              <a:chOff x="452" y="2082"/>
              <a:chExt cx="68" cy="71"/>
            </a:xfrm>
          </p:grpSpPr>
          <p:sp>
            <p:nvSpPr>
              <p:cNvPr id="32958" name="Line 190"/>
              <p:cNvSpPr>
                <a:spLocks noChangeShapeType="1"/>
              </p:cNvSpPr>
              <p:nvPr/>
            </p:nvSpPr>
            <p:spPr bwMode="auto">
              <a:xfrm flipV="1">
                <a:off x="452" y="2082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32959" name="Line 191"/>
              <p:cNvSpPr>
                <a:spLocks noChangeShapeType="1"/>
              </p:cNvSpPr>
              <p:nvPr/>
            </p:nvSpPr>
            <p:spPr bwMode="auto">
              <a:xfrm flipH="1" flipV="1">
                <a:off x="452" y="2082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32961" name="Rectangle 193"/>
            <p:cNvSpPr>
              <a:spLocks noChangeArrowheads="1"/>
            </p:cNvSpPr>
            <p:nvPr/>
          </p:nvSpPr>
          <p:spPr bwMode="auto">
            <a:xfrm>
              <a:off x="529" y="2212"/>
              <a:ext cx="90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 Negative</a:t>
              </a:r>
            </a:p>
          </p:txBody>
        </p:sp>
        <p:sp>
          <p:nvSpPr>
            <p:cNvPr id="32962" name="Rectangle 194"/>
            <p:cNvSpPr>
              <a:spLocks noChangeArrowheads="1"/>
            </p:cNvSpPr>
            <p:nvPr/>
          </p:nvSpPr>
          <p:spPr bwMode="auto">
            <a:xfrm>
              <a:off x="191" y="1783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32963" name="Rectangle 195"/>
            <p:cNvSpPr>
              <a:spLocks noChangeArrowheads="1"/>
            </p:cNvSpPr>
            <p:nvPr/>
          </p:nvSpPr>
          <p:spPr bwMode="auto">
            <a:xfrm>
              <a:off x="191" y="1926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32964" name="Rectangle 196"/>
            <p:cNvSpPr>
              <a:spLocks noChangeArrowheads="1"/>
            </p:cNvSpPr>
            <p:nvPr/>
          </p:nvSpPr>
          <p:spPr bwMode="auto">
            <a:xfrm>
              <a:off x="214" y="2069"/>
              <a:ext cx="200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-3</a:t>
              </a:r>
            </a:p>
          </p:txBody>
        </p:sp>
        <p:sp>
          <p:nvSpPr>
            <p:cNvPr id="32965" name="Rectangle 197"/>
            <p:cNvSpPr>
              <a:spLocks noChangeArrowheads="1"/>
            </p:cNvSpPr>
            <p:nvPr/>
          </p:nvSpPr>
          <p:spPr bwMode="auto">
            <a:xfrm>
              <a:off x="214" y="2212"/>
              <a:ext cx="200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-9</a:t>
              </a:r>
            </a:p>
          </p:txBody>
        </p:sp>
        <p:sp>
          <p:nvSpPr>
            <p:cNvPr id="32966" name="Rectangle 198"/>
            <p:cNvSpPr>
              <a:spLocks noChangeArrowheads="1"/>
            </p:cNvSpPr>
            <p:nvPr/>
          </p:nvSpPr>
          <p:spPr bwMode="auto">
            <a:xfrm>
              <a:off x="186" y="1719"/>
              <a:ext cx="1333" cy="693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sp>
        <p:nvSpPr>
          <p:cNvPr id="32968" name="Rectangle 200"/>
          <p:cNvSpPr>
            <a:spLocks noChangeArrowheads="1"/>
          </p:cNvSpPr>
          <p:nvPr/>
        </p:nvSpPr>
        <p:spPr bwMode="auto">
          <a:xfrm>
            <a:off x="117184" y="1539876"/>
            <a:ext cx="2673809" cy="1077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Interrelationship between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(correlation matrix)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HOWs vs. HOWs</a:t>
            </a:r>
          </a:p>
        </p:txBody>
      </p:sp>
    </p:spTree>
    <p:extLst>
      <p:ext uri="{BB962C8B-B14F-4D97-AF65-F5344CB8AC3E}">
        <p14:creationId xmlns:p14="http://schemas.microsoft.com/office/powerpoint/2010/main" val="805462690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381000"/>
            <a:ext cx="9892242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Customer Requirements (What’s)</a:t>
            </a:r>
          </a:p>
        </p:txBody>
      </p:sp>
      <p:sp>
        <p:nvSpPr>
          <p:cNvPr id="34819" name="Line 3"/>
          <p:cNvSpPr>
            <a:spLocks noChangeShapeType="1"/>
          </p:cNvSpPr>
          <p:nvPr/>
        </p:nvSpPr>
        <p:spPr bwMode="auto">
          <a:xfrm>
            <a:off x="3221170" y="35814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20" name="Line 4"/>
          <p:cNvSpPr>
            <a:spLocks noChangeShapeType="1"/>
          </p:cNvSpPr>
          <p:nvPr/>
        </p:nvSpPr>
        <p:spPr bwMode="auto">
          <a:xfrm>
            <a:off x="2564215" y="5029200"/>
            <a:ext cx="511294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21" name="Rectangle 5"/>
          <p:cNvSpPr>
            <a:spLocks noChangeArrowheads="1"/>
          </p:cNvSpPr>
          <p:nvPr/>
        </p:nvSpPr>
        <p:spPr bwMode="auto">
          <a:xfrm rot="16200000">
            <a:off x="761868" y="4335834"/>
            <a:ext cx="2971800" cy="646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</a:t>
            </a:r>
          </a:p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(WHATs)</a:t>
            </a:r>
          </a:p>
        </p:txBody>
      </p:sp>
      <p:sp>
        <p:nvSpPr>
          <p:cNvPr id="34822" name="Line 6"/>
          <p:cNvSpPr>
            <a:spLocks noChangeShapeType="1"/>
          </p:cNvSpPr>
          <p:nvPr/>
        </p:nvSpPr>
        <p:spPr bwMode="auto">
          <a:xfrm flipV="1">
            <a:off x="1816100" y="3124200"/>
            <a:ext cx="0" cy="30480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23" name="Line 7"/>
          <p:cNvSpPr>
            <a:spLocks noChangeShapeType="1"/>
          </p:cNvSpPr>
          <p:nvPr/>
        </p:nvSpPr>
        <p:spPr bwMode="auto">
          <a:xfrm>
            <a:off x="1816100" y="3124200"/>
            <a:ext cx="586105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24" name="Rectangle 8"/>
          <p:cNvSpPr>
            <a:spLocks noChangeArrowheads="1"/>
          </p:cNvSpPr>
          <p:nvPr/>
        </p:nvSpPr>
        <p:spPr bwMode="auto">
          <a:xfrm rot="16200000">
            <a:off x="2333135" y="2413751"/>
            <a:ext cx="1045158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34825" name="Rectangle 9"/>
          <p:cNvSpPr>
            <a:spLocks noChangeArrowheads="1"/>
          </p:cNvSpPr>
          <p:nvPr/>
        </p:nvSpPr>
        <p:spPr bwMode="auto">
          <a:xfrm rot="16200000">
            <a:off x="2853597" y="2285957"/>
            <a:ext cx="1373188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34826" name="Line 10"/>
          <p:cNvSpPr>
            <a:spLocks noChangeShapeType="1"/>
          </p:cNvSpPr>
          <p:nvPr/>
        </p:nvSpPr>
        <p:spPr bwMode="auto">
          <a:xfrm>
            <a:off x="1816100" y="6172200"/>
            <a:ext cx="586105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27" name="Rectangle 11"/>
          <p:cNvSpPr>
            <a:spLocks noChangeArrowheads="1"/>
          </p:cNvSpPr>
          <p:nvPr/>
        </p:nvSpPr>
        <p:spPr bwMode="auto">
          <a:xfrm rot="16200000">
            <a:off x="5232203" y="2404226"/>
            <a:ext cx="1015213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rtiary</a:t>
            </a:r>
          </a:p>
        </p:txBody>
      </p:sp>
      <p:sp>
        <p:nvSpPr>
          <p:cNvPr id="34828" name="Line 12"/>
          <p:cNvSpPr>
            <a:spLocks noChangeShapeType="1"/>
          </p:cNvSpPr>
          <p:nvPr/>
        </p:nvSpPr>
        <p:spPr bwMode="auto">
          <a:xfrm>
            <a:off x="3219450" y="1752600"/>
            <a:ext cx="0" cy="44196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29" name="Line 13"/>
          <p:cNvSpPr>
            <a:spLocks noChangeShapeType="1"/>
          </p:cNvSpPr>
          <p:nvPr/>
        </p:nvSpPr>
        <p:spPr bwMode="auto">
          <a:xfrm>
            <a:off x="2559050" y="1752600"/>
            <a:ext cx="0" cy="44196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0" name="Line 14"/>
          <p:cNvSpPr>
            <a:spLocks noChangeShapeType="1"/>
          </p:cNvSpPr>
          <p:nvPr/>
        </p:nvSpPr>
        <p:spPr bwMode="auto">
          <a:xfrm>
            <a:off x="2559050" y="1752600"/>
            <a:ext cx="511810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1" name="Line 15"/>
          <p:cNvSpPr>
            <a:spLocks noChangeShapeType="1"/>
          </p:cNvSpPr>
          <p:nvPr/>
        </p:nvSpPr>
        <p:spPr bwMode="auto">
          <a:xfrm>
            <a:off x="5448300" y="1752600"/>
            <a:ext cx="0" cy="44196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2" name="Line 16"/>
          <p:cNvSpPr>
            <a:spLocks noChangeShapeType="1"/>
          </p:cNvSpPr>
          <p:nvPr/>
        </p:nvSpPr>
        <p:spPr bwMode="auto">
          <a:xfrm>
            <a:off x="7677150" y="1752600"/>
            <a:ext cx="0" cy="44196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3" name="Line 17"/>
          <p:cNvSpPr>
            <a:spLocks noChangeShapeType="1"/>
          </p:cNvSpPr>
          <p:nvPr/>
        </p:nvSpPr>
        <p:spPr bwMode="auto">
          <a:xfrm>
            <a:off x="5450020" y="33528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4" name="Line 18"/>
          <p:cNvSpPr>
            <a:spLocks noChangeShapeType="1"/>
          </p:cNvSpPr>
          <p:nvPr/>
        </p:nvSpPr>
        <p:spPr bwMode="auto">
          <a:xfrm>
            <a:off x="5450020" y="52578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5" name="Line 19"/>
          <p:cNvSpPr>
            <a:spLocks noChangeShapeType="1"/>
          </p:cNvSpPr>
          <p:nvPr/>
        </p:nvSpPr>
        <p:spPr bwMode="auto">
          <a:xfrm>
            <a:off x="5450020" y="54864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6" name="Line 20"/>
          <p:cNvSpPr>
            <a:spLocks noChangeShapeType="1"/>
          </p:cNvSpPr>
          <p:nvPr/>
        </p:nvSpPr>
        <p:spPr bwMode="auto">
          <a:xfrm>
            <a:off x="5450020" y="57150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7" name="Line 21"/>
          <p:cNvSpPr>
            <a:spLocks noChangeShapeType="1"/>
          </p:cNvSpPr>
          <p:nvPr/>
        </p:nvSpPr>
        <p:spPr bwMode="auto">
          <a:xfrm>
            <a:off x="5450020" y="59436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8" name="Line 22"/>
          <p:cNvSpPr>
            <a:spLocks noChangeShapeType="1"/>
          </p:cNvSpPr>
          <p:nvPr/>
        </p:nvSpPr>
        <p:spPr bwMode="auto">
          <a:xfrm>
            <a:off x="3221170" y="57150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39" name="Line 23"/>
          <p:cNvSpPr>
            <a:spLocks noChangeShapeType="1"/>
          </p:cNvSpPr>
          <p:nvPr/>
        </p:nvSpPr>
        <p:spPr bwMode="auto">
          <a:xfrm>
            <a:off x="5450020" y="35814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40" name="Line 24"/>
          <p:cNvSpPr>
            <a:spLocks noChangeShapeType="1"/>
          </p:cNvSpPr>
          <p:nvPr/>
        </p:nvSpPr>
        <p:spPr bwMode="auto">
          <a:xfrm>
            <a:off x="5450020" y="38100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41" name="Line 25"/>
          <p:cNvSpPr>
            <a:spLocks noChangeShapeType="1"/>
          </p:cNvSpPr>
          <p:nvPr/>
        </p:nvSpPr>
        <p:spPr bwMode="auto">
          <a:xfrm>
            <a:off x="5450020" y="40386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42" name="Line 26"/>
          <p:cNvSpPr>
            <a:spLocks noChangeShapeType="1"/>
          </p:cNvSpPr>
          <p:nvPr/>
        </p:nvSpPr>
        <p:spPr bwMode="auto">
          <a:xfrm>
            <a:off x="5450020" y="42672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43" name="Line 27"/>
          <p:cNvSpPr>
            <a:spLocks noChangeShapeType="1"/>
          </p:cNvSpPr>
          <p:nvPr/>
        </p:nvSpPr>
        <p:spPr bwMode="auto">
          <a:xfrm>
            <a:off x="5450020" y="44958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44" name="Line 28"/>
          <p:cNvSpPr>
            <a:spLocks noChangeShapeType="1"/>
          </p:cNvSpPr>
          <p:nvPr/>
        </p:nvSpPr>
        <p:spPr bwMode="auto">
          <a:xfrm>
            <a:off x="5450020" y="47244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4845" name="Line 29"/>
          <p:cNvSpPr>
            <a:spLocks noChangeShapeType="1"/>
          </p:cNvSpPr>
          <p:nvPr/>
        </p:nvSpPr>
        <p:spPr bwMode="auto">
          <a:xfrm>
            <a:off x="3221170" y="40386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84670689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>
          <a:xfrm>
            <a:off x="577850" y="381000"/>
            <a:ext cx="8915400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Technical Descriptors (How’s)</a:t>
            </a:r>
          </a:p>
        </p:txBody>
      </p:sp>
      <p:sp>
        <p:nvSpPr>
          <p:cNvPr id="36867" name="Line 3"/>
          <p:cNvSpPr>
            <a:spLocks noChangeShapeType="1"/>
          </p:cNvSpPr>
          <p:nvPr/>
        </p:nvSpPr>
        <p:spPr bwMode="auto">
          <a:xfrm>
            <a:off x="3221170" y="35814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68" name="Line 4"/>
          <p:cNvSpPr>
            <a:spLocks noChangeShapeType="1"/>
          </p:cNvSpPr>
          <p:nvPr/>
        </p:nvSpPr>
        <p:spPr bwMode="auto">
          <a:xfrm>
            <a:off x="2564215" y="5029200"/>
            <a:ext cx="511294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69" name="Rectangle 5"/>
          <p:cNvSpPr>
            <a:spLocks noChangeArrowheads="1"/>
          </p:cNvSpPr>
          <p:nvPr/>
        </p:nvSpPr>
        <p:spPr bwMode="auto">
          <a:xfrm rot="16200000">
            <a:off x="761868" y="4335834"/>
            <a:ext cx="2971800" cy="646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(HOWs)</a:t>
            </a:r>
          </a:p>
        </p:txBody>
      </p:sp>
      <p:sp>
        <p:nvSpPr>
          <p:cNvPr id="36870" name="Line 6"/>
          <p:cNvSpPr>
            <a:spLocks noChangeShapeType="1"/>
          </p:cNvSpPr>
          <p:nvPr/>
        </p:nvSpPr>
        <p:spPr bwMode="auto">
          <a:xfrm flipV="1">
            <a:off x="1816100" y="3124200"/>
            <a:ext cx="0" cy="30480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71" name="Line 7"/>
          <p:cNvSpPr>
            <a:spLocks noChangeShapeType="1"/>
          </p:cNvSpPr>
          <p:nvPr/>
        </p:nvSpPr>
        <p:spPr bwMode="auto">
          <a:xfrm>
            <a:off x="1816100" y="3124200"/>
            <a:ext cx="586105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72" name="Rectangle 8"/>
          <p:cNvSpPr>
            <a:spLocks noChangeArrowheads="1"/>
          </p:cNvSpPr>
          <p:nvPr/>
        </p:nvSpPr>
        <p:spPr bwMode="auto">
          <a:xfrm rot="16200000">
            <a:off x="2333135" y="2413751"/>
            <a:ext cx="1045158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36873" name="Rectangle 9"/>
          <p:cNvSpPr>
            <a:spLocks noChangeArrowheads="1"/>
          </p:cNvSpPr>
          <p:nvPr/>
        </p:nvSpPr>
        <p:spPr bwMode="auto">
          <a:xfrm rot="16200000">
            <a:off x="2853597" y="2285957"/>
            <a:ext cx="1373188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36874" name="Line 10"/>
          <p:cNvSpPr>
            <a:spLocks noChangeShapeType="1"/>
          </p:cNvSpPr>
          <p:nvPr/>
        </p:nvSpPr>
        <p:spPr bwMode="auto">
          <a:xfrm>
            <a:off x="1816100" y="6172200"/>
            <a:ext cx="586105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75" name="Rectangle 11"/>
          <p:cNvSpPr>
            <a:spLocks noChangeArrowheads="1"/>
          </p:cNvSpPr>
          <p:nvPr/>
        </p:nvSpPr>
        <p:spPr bwMode="auto">
          <a:xfrm rot="16200000">
            <a:off x="5232203" y="2404226"/>
            <a:ext cx="1015213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8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rtiary</a:t>
            </a:r>
          </a:p>
        </p:txBody>
      </p:sp>
      <p:sp>
        <p:nvSpPr>
          <p:cNvPr id="36876" name="Line 12"/>
          <p:cNvSpPr>
            <a:spLocks noChangeShapeType="1"/>
          </p:cNvSpPr>
          <p:nvPr/>
        </p:nvSpPr>
        <p:spPr bwMode="auto">
          <a:xfrm>
            <a:off x="3219450" y="1752600"/>
            <a:ext cx="0" cy="44196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77" name="Line 13"/>
          <p:cNvSpPr>
            <a:spLocks noChangeShapeType="1"/>
          </p:cNvSpPr>
          <p:nvPr/>
        </p:nvSpPr>
        <p:spPr bwMode="auto">
          <a:xfrm>
            <a:off x="2559050" y="1752600"/>
            <a:ext cx="0" cy="44196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78" name="Line 14"/>
          <p:cNvSpPr>
            <a:spLocks noChangeShapeType="1"/>
          </p:cNvSpPr>
          <p:nvPr/>
        </p:nvSpPr>
        <p:spPr bwMode="auto">
          <a:xfrm>
            <a:off x="2559050" y="1752600"/>
            <a:ext cx="511810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79" name="Line 15"/>
          <p:cNvSpPr>
            <a:spLocks noChangeShapeType="1"/>
          </p:cNvSpPr>
          <p:nvPr/>
        </p:nvSpPr>
        <p:spPr bwMode="auto">
          <a:xfrm>
            <a:off x="5448300" y="1752600"/>
            <a:ext cx="0" cy="44196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0" name="Line 16"/>
          <p:cNvSpPr>
            <a:spLocks noChangeShapeType="1"/>
          </p:cNvSpPr>
          <p:nvPr/>
        </p:nvSpPr>
        <p:spPr bwMode="auto">
          <a:xfrm>
            <a:off x="7677150" y="1752600"/>
            <a:ext cx="0" cy="441960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1" name="Line 17"/>
          <p:cNvSpPr>
            <a:spLocks noChangeShapeType="1"/>
          </p:cNvSpPr>
          <p:nvPr/>
        </p:nvSpPr>
        <p:spPr bwMode="auto">
          <a:xfrm>
            <a:off x="5450020" y="33528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2" name="Line 18"/>
          <p:cNvSpPr>
            <a:spLocks noChangeShapeType="1"/>
          </p:cNvSpPr>
          <p:nvPr/>
        </p:nvSpPr>
        <p:spPr bwMode="auto">
          <a:xfrm>
            <a:off x="5450020" y="52578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3" name="Line 19"/>
          <p:cNvSpPr>
            <a:spLocks noChangeShapeType="1"/>
          </p:cNvSpPr>
          <p:nvPr/>
        </p:nvSpPr>
        <p:spPr bwMode="auto">
          <a:xfrm>
            <a:off x="5450020" y="54864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4" name="Line 20"/>
          <p:cNvSpPr>
            <a:spLocks noChangeShapeType="1"/>
          </p:cNvSpPr>
          <p:nvPr/>
        </p:nvSpPr>
        <p:spPr bwMode="auto">
          <a:xfrm>
            <a:off x="5450020" y="57150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5" name="Line 21"/>
          <p:cNvSpPr>
            <a:spLocks noChangeShapeType="1"/>
          </p:cNvSpPr>
          <p:nvPr/>
        </p:nvSpPr>
        <p:spPr bwMode="auto">
          <a:xfrm>
            <a:off x="5450020" y="59436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6" name="Line 22"/>
          <p:cNvSpPr>
            <a:spLocks noChangeShapeType="1"/>
          </p:cNvSpPr>
          <p:nvPr/>
        </p:nvSpPr>
        <p:spPr bwMode="auto">
          <a:xfrm>
            <a:off x="3221170" y="57150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7" name="Line 23"/>
          <p:cNvSpPr>
            <a:spLocks noChangeShapeType="1"/>
          </p:cNvSpPr>
          <p:nvPr/>
        </p:nvSpPr>
        <p:spPr bwMode="auto">
          <a:xfrm>
            <a:off x="5450020" y="35814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8" name="Line 24"/>
          <p:cNvSpPr>
            <a:spLocks noChangeShapeType="1"/>
          </p:cNvSpPr>
          <p:nvPr/>
        </p:nvSpPr>
        <p:spPr bwMode="auto">
          <a:xfrm>
            <a:off x="5450020" y="38100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89" name="Line 25"/>
          <p:cNvSpPr>
            <a:spLocks noChangeShapeType="1"/>
          </p:cNvSpPr>
          <p:nvPr/>
        </p:nvSpPr>
        <p:spPr bwMode="auto">
          <a:xfrm>
            <a:off x="5450020" y="40386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90" name="Line 26"/>
          <p:cNvSpPr>
            <a:spLocks noChangeShapeType="1"/>
          </p:cNvSpPr>
          <p:nvPr/>
        </p:nvSpPr>
        <p:spPr bwMode="auto">
          <a:xfrm>
            <a:off x="5450020" y="42672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91" name="Line 27"/>
          <p:cNvSpPr>
            <a:spLocks noChangeShapeType="1"/>
          </p:cNvSpPr>
          <p:nvPr/>
        </p:nvSpPr>
        <p:spPr bwMode="auto">
          <a:xfrm>
            <a:off x="5450020" y="44958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92" name="Line 28"/>
          <p:cNvSpPr>
            <a:spLocks noChangeShapeType="1"/>
          </p:cNvSpPr>
          <p:nvPr/>
        </p:nvSpPr>
        <p:spPr bwMode="auto">
          <a:xfrm>
            <a:off x="5450020" y="47244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6893" name="Line 29"/>
          <p:cNvSpPr>
            <a:spLocks noChangeShapeType="1"/>
          </p:cNvSpPr>
          <p:nvPr/>
        </p:nvSpPr>
        <p:spPr bwMode="auto">
          <a:xfrm>
            <a:off x="3221170" y="4038600"/>
            <a:ext cx="222713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807209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title"/>
          </p:nvPr>
        </p:nvSpPr>
        <p:spPr>
          <a:xfrm>
            <a:off x="495300" y="304800"/>
            <a:ext cx="8915400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L - Shaped Diagram</a:t>
            </a:r>
          </a:p>
        </p:txBody>
      </p:sp>
      <p:sp>
        <p:nvSpPr>
          <p:cNvPr id="38915" name="Line 3"/>
          <p:cNvSpPr>
            <a:spLocks noChangeShapeType="1"/>
          </p:cNvSpPr>
          <p:nvPr/>
        </p:nvSpPr>
        <p:spPr bwMode="auto">
          <a:xfrm flipH="1">
            <a:off x="2746508" y="5578475"/>
            <a:ext cx="478102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16" name="Line 4"/>
          <p:cNvSpPr>
            <a:spLocks noChangeShapeType="1"/>
          </p:cNvSpPr>
          <p:nvPr/>
        </p:nvSpPr>
        <p:spPr bwMode="auto">
          <a:xfrm flipV="1">
            <a:off x="6091502" y="2095509"/>
            <a:ext cx="0" cy="500063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17" name="Line 5"/>
          <p:cNvSpPr>
            <a:spLocks noChangeShapeType="1"/>
          </p:cNvSpPr>
          <p:nvPr/>
        </p:nvSpPr>
        <p:spPr bwMode="auto">
          <a:xfrm>
            <a:off x="2268406" y="4335463"/>
            <a:ext cx="2627842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18" name="Line 6"/>
          <p:cNvSpPr>
            <a:spLocks noChangeShapeType="1"/>
          </p:cNvSpPr>
          <p:nvPr/>
        </p:nvSpPr>
        <p:spPr bwMode="auto">
          <a:xfrm>
            <a:off x="2746508" y="4335463"/>
            <a:ext cx="0" cy="1992312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19" name="Line 7"/>
          <p:cNvSpPr>
            <a:spLocks noChangeShapeType="1"/>
          </p:cNvSpPr>
          <p:nvPr/>
        </p:nvSpPr>
        <p:spPr bwMode="auto">
          <a:xfrm>
            <a:off x="2268406" y="4335463"/>
            <a:ext cx="0" cy="1992312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0" name="Line 8"/>
          <p:cNvSpPr>
            <a:spLocks noChangeShapeType="1"/>
          </p:cNvSpPr>
          <p:nvPr/>
        </p:nvSpPr>
        <p:spPr bwMode="auto">
          <a:xfrm>
            <a:off x="2268406" y="6327775"/>
            <a:ext cx="2627842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1" name="Line 9"/>
          <p:cNvSpPr>
            <a:spLocks noChangeShapeType="1"/>
          </p:cNvSpPr>
          <p:nvPr/>
        </p:nvSpPr>
        <p:spPr bwMode="auto">
          <a:xfrm>
            <a:off x="2268406" y="6327775"/>
            <a:ext cx="0" cy="1588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2" name="Line 10"/>
          <p:cNvSpPr>
            <a:spLocks noChangeShapeType="1"/>
          </p:cNvSpPr>
          <p:nvPr/>
        </p:nvSpPr>
        <p:spPr bwMode="auto">
          <a:xfrm>
            <a:off x="3224610" y="4335463"/>
            <a:ext cx="0" cy="1992312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3" name="Line 11"/>
          <p:cNvSpPr>
            <a:spLocks noChangeShapeType="1"/>
          </p:cNvSpPr>
          <p:nvPr/>
        </p:nvSpPr>
        <p:spPr bwMode="auto">
          <a:xfrm>
            <a:off x="3224610" y="4584700"/>
            <a:ext cx="1671638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4" name="Line 12"/>
          <p:cNvSpPr>
            <a:spLocks noChangeShapeType="1"/>
          </p:cNvSpPr>
          <p:nvPr/>
        </p:nvSpPr>
        <p:spPr bwMode="auto">
          <a:xfrm>
            <a:off x="3224610" y="4833938"/>
            <a:ext cx="1671638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5" name="Line 13"/>
          <p:cNvSpPr>
            <a:spLocks noChangeShapeType="1"/>
          </p:cNvSpPr>
          <p:nvPr/>
        </p:nvSpPr>
        <p:spPr bwMode="auto">
          <a:xfrm>
            <a:off x="3224610" y="5083175"/>
            <a:ext cx="1671638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6" name="Line 14"/>
          <p:cNvSpPr>
            <a:spLocks noChangeShapeType="1"/>
          </p:cNvSpPr>
          <p:nvPr/>
        </p:nvSpPr>
        <p:spPr bwMode="auto">
          <a:xfrm>
            <a:off x="3224610" y="5332413"/>
            <a:ext cx="1671638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7" name="Line 15"/>
          <p:cNvSpPr>
            <a:spLocks noChangeShapeType="1"/>
          </p:cNvSpPr>
          <p:nvPr/>
        </p:nvSpPr>
        <p:spPr bwMode="auto">
          <a:xfrm>
            <a:off x="3224610" y="5578475"/>
            <a:ext cx="1671638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8" name="Line 16"/>
          <p:cNvSpPr>
            <a:spLocks noChangeShapeType="1"/>
          </p:cNvSpPr>
          <p:nvPr/>
        </p:nvSpPr>
        <p:spPr bwMode="auto">
          <a:xfrm>
            <a:off x="3224610" y="5827713"/>
            <a:ext cx="1671638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29" name="Line 17"/>
          <p:cNvSpPr>
            <a:spLocks noChangeShapeType="1"/>
          </p:cNvSpPr>
          <p:nvPr/>
        </p:nvSpPr>
        <p:spPr bwMode="auto">
          <a:xfrm>
            <a:off x="3224610" y="6078538"/>
            <a:ext cx="1671638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0" name="Line 18"/>
          <p:cNvSpPr>
            <a:spLocks noChangeShapeType="1"/>
          </p:cNvSpPr>
          <p:nvPr/>
        </p:nvSpPr>
        <p:spPr bwMode="auto">
          <a:xfrm>
            <a:off x="4897967" y="4335463"/>
            <a:ext cx="0" cy="1992312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1" name="Line 19"/>
          <p:cNvSpPr>
            <a:spLocks noChangeShapeType="1"/>
          </p:cNvSpPr>
          <p:nvPr/>
        </p:nvSpPr>
        <p:spPr bwMode="auto">
          <a:xfrm>
            <a:off x="5135298" y="2595563"/>
            <a:ext cx="0" cy="17399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2" name="Line 20"/>
          <p:cNvSpPr>
            <a:spLocks noChangeShapeType="1"/>
          </p:cNvSpPr>
          <p:nvPr/>
        </p:nvSpPr>
        <p:spPr bwMode="auto">
          <a:xfrm>
            <a:off x="5374350" y="2595567"/>
            <a:ext cx="0" cy="1735137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3" name="Line 21"/>
          <p:cNvSpPr>
            <a:spLocks noChangeShapeType="1"/>
          </p:cNvSpPr>
          <p:nvPr/>
        </p:nvSpPr>
        <p:spPr bwMode="auto">
          <a:xfrm>
            <a:off x="5613400" y="2595567"/>
            <a:ext cx="0" cy="1735137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4" name="Line 22"/>
          <p:cNvSpPr>
            <a:spLocks noChangeShapeType="1"/>
          </p:cNvSpPr>
          <p:nvPr/>
        </p:nvSpPr>
        <p:spPr bwMode="auto">
          <a:xfrm>
            <a:off x="5852452" y="2595563"/>
            <a:ext cx="0" cy="17399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5" name="Line 23"/>
          <p:cNvSpPr>
            <a:spLocks noChangeShapeType="1"/>
          </p:cNvSpPr>
          <p:nvPr/>
        </p:nvSpPr>
        <p:spPr bwMode="auto">
          <a:xfrm>
            <a:off x="6091502" y="2595563"/>
            <a:ext cx="0" cy="17399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6" name="Line 24"/>
          <p:cNvSpPr>
            <a:spLocks noChangeShapeType="1"/>
          </p:cNvSpPr>
          <p:nvPr/>
        </p:nvSpPr>
        <p:spPr bwMode="auto">
          <a:xfrm>
            <a:off x="6332273" y="2595563"/>
            <a:ext cx="0" cy="17399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7" name="Line 25"/>
          <p:cNvSpPr>
            <a:spLocks noChangeShapeType="1"/>
          </p:cNvSpPr>
          <p:nvPr/>
        </p:nvSpPr>
        <p:spPr bwMode="auto">
          <a:xfrm>
            <a:off x="6569604" y="2595563"/>
            <a:ext cx="0" cy="17335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8" name="Line 26"/>
          <p:cNvSpPr>
            <a:spLocks noChangeShapeType="1"/>
          </p:cNvSpPr>
          <p:nvPr/>
        </p:nvSpPr>
        <p:spPr bwMode="auto">
          <a:xfrm>
            <a:off x="4897971" y="2595563"/>
            <a:ext cx="1908969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39" name="Line 27"/>
          <p:cNvSpPr>
            <a:spLocks noChangeShapeType="1"/>
          </p:cNvSpPr>
          <p:nvPr/>
        </p:nvSpPr>
        <p:spPr bwMode="auto">
          <a:xfrm>
            <a:off x="4897971" y="4335463"/>
            <a:ext cx="1908969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40" name="Line 28"/>
          <p:cNvSpPr>
            <a:spLocks noChangeShapeType="1"/>
          </p:cNvSpPr>
          <p:nvPr/>
        </p:nvSpPr>
        <p:spPr bwMode="auto">
          <a:xfrm flipV="1">
            <a:off x="4897967" y="2600325"/>
            <a:ext cx="0" cy="1735138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41" name="Line 29"/>
          <p:cNvSpPr>
            <a:spLocks noChangeShapeType="1"/>
          </p:cNvSpPr>
          <p:nvPr/>
        </p:nvSpPr>
        <p:spPr bwMode="auto">
          <a:xfrm>
            <a:off x="6808656" y="2595563"/>
            <a:ext cx="0" cy="17399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42" name="Rectangle 30"/>
          <p:cNvSpPr>
            <a:spLocks noChangeArrowheads="1"/>
          </p:cNvSpPr>
          <p:nvPr/>
        </p:nvSpPr>
        <p:spPr bwMode="auto">
          <a:xfrm rot="16200000">
            <a:off x="1575065" y="5082392"/>
            <a:ext cx="1912938" cy="5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</a:t>
            </a:r>
          </a:p>
        </p:txBody>
      </p:sp>
      <p:sp>
        <p:nvSpPr>
          <p:cNvPr id="38943" name="Line 31"/>
          <p:cNvSpPr>
            <a:spLocks noChangeShapeType="1"/>
          </p:cNvSpPr>
          <p:nvPr/>
        </p:nvSpPr>
        <p:spPr bwMode="auto">
          <a:xfrm flipV="1">
            <a:off x="4897967" y="2095509"/>
            <a:ext cx="0" cy="500063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44" name="Line 32"/>
          <p:cNvSpPr>
            <a:spLocks noChangeShapeType="1"/>
          </p:cNvSpPr>
          <p:nvPr/>
        </p:nvSpPr>
        <p:spPr bwMode="auto">
          <a:xfrm>
            <a:off x="6808656" y="2095509"/>
            <a:ext cx="0" cy="500063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45" name="Line 33"/>
          <p:cNvSpPr>
            <a:spLocks noChangeShapeType="1"/>
          </p:cNvSpPr>
          <p:nvPr/>
        </p:nvSpPr>
        <p:spPr bwMode="auto">
          <a:xfrm>
            <a:off x="4897971" y="2095500"/>
            <a:ext cx="1908969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46" name="Line 34"/>
          <p:cNvSpPr>
            <a:spLocks noChangeShapeType="1"/>
          </p:cNvSpPr>
          <p:nvPr/>
        </p:nvSpPr>
        <p:spPr bwMode="auto">
          <a:xfrm flipV="1">
            <a:off x="4897967" y="1600200"/>
            <a:ext cx="0" cy="4953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47" name="Rectangle 35"/>
          <p:cNvSpPr>
            <a:spLocks noChangeArrowheads="1"/>
          </p:cNvSpPr>
          <p:nvPr/>
        </p:nvSpPr>
        <p:spPr bwMode="auto">
          <a:xfrm>
            <a:off x="5026952" y="1622426"/>
            <a:ext cx="1651000" cy="523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</p:txBody>
      </p:sp>
      <p:sp>
        <p:nvSpPr>
          <p:cNvPr id="38948" name="Line 36"/>
          <p:cNvSpPr>
            <a:spLocks noChangeShapeType="1"/>
          </p:cNvSpPr>
          <p:nvPr/>
        </p:nvSpPr>
        <p:spPr bwMode="auto">
          <a:xfrm>
            <a:off x="4897971" y="1600200"/>
            <a:ext cx="1908969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49" name="Line 37"/>
          <p:cNvSpPr>
            <a:spLocks noChangeShapeType="1"/>
          </p:cNvSpPr>
          <p:nvPr/>
        </p:nvSpPr>
        <p:spPr bwMode="auto">
          <a:xfrm flipV="1">
            <a:off x="3221170" y="2595563"/>
            <a:ext cx="0" cy="17399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50" name="Line 38"/>
          <p:cNvSpPr>
            <a:spLocks noChangeShapeType="1"/>
          </p:cNvSpPr>
          <p:nvPr/>
        </p:nvSpPr>
        <p:spPr bwMode="auto">
          <a:xfrm flipV="1">
            <a:off x="2741348" y="2095509"/>
            <a:ext cx="0" cy="2239963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51" name="Line 39"/>
          <p:cNvSpPr>
            <a:spLocks noChangeShapeType="1"/>
          </p:cNvSpPr>
          <p:nvPr/>
        </p:nvSpPr>
        <p:spPr bwMode="auto">
          <a:xfrm>
            <a:off x="2741348" y="2095500"/>
            <a:ext cx="2154900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52" name="Line 40"/>
          <p:cNvSpPr>
            <a:spLocks noChangeShapeType="1"/>
          </p:cNvSpPr>
          <p:nvPr/>
        </p:nvSpPr>
        <p:spPr bwMode="auto">
          <a:xfrm>
            <a:off x="3221175" y="2595563"/>
            <a:ext cx="1675077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53" name="Line 41"/>
          <p:cNvSpPr>
            <a:spLocks noChangeShapeType="1"/>
          </p:cNvSpPr>
          <p:nvPr/>
        </p:nvSpPr>
        <p:spPr bwMode="auto">
          <a:xfrm>
            <a:off x="2741348" y="2095509"/>
            <a:ext cx="2154900" cy="2239963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54" name="Rectangle 42"/>
          <p:cNvSpPr>
            <a:spLocks noChangeArrowheads="1"/>
          </p:cNvSpPr>
          <p:nvPr/>
        </p:nvSpPr>
        <p:spPr bwMode="auto">
          <a:xfrm>
            <a:off x="3994443" y="2162183"/>
            <a:ext cx="85600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38955" name="Rectangle 43"/>
          <p:cNvSpPr>
            <a:spLocks noChangeArrowheads="1"/>
          </p:cNvSpPr>
          <p:nvPr/>
        </p:nvSpPr>
        <p:spPr bwMode="auto">
          <a:xfrm rot="16200000">
            <a:off x="2502523" y="3681991"/>
            <a:ext cx="85600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38956" name="Rectangle 44"/>
          <p:cNvSpPr>
            <a:spLocks noChangeArrowheads="1"/>
          </p:cNvSpPr>
          <p:nvPr/>
        </p:nvSpPr>
        <p:spPr bwMode="auto">
          <a:xfrm rot="16200000">
            <a:off x="2906154" y="3556578"/>
            <a:ext cx="1101263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38957" name="Rectangle 45"/>
          <p:cNvSpPr>
            <a:spLocks noChangeArrowheads="1"/>
          </p:cNvSpPr>
          <p:nvPr/>
        </p:nvSpPr>
        <p:spPr bwMode="auto">
          <a:xfrm>
            <a:off x="3723912" y="2630496"/>
            <a:ext cx="110126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38958" name="Line 46"/>
          <p:cNvSpPr>
            <a:spLocks noChangeShapeType="1"/>
          </p:cNvSpPr>
          <p:nvPr/>
        </p:nvSpPr>
        <p:spPr bwMode="auto">
          <a:xfrm>
            <a:off x="6808656" y="1600200"/>
            <a:ext cx="0" cy="4953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59" name="AutoShape 47"/>
          <p:cNvSpPr>
            <a:spLocks noChangeArrowheads="1"/>
          </p:cNvSpPr>
          <p:nvPr/>
        </p:nvSpPr>
        <p:spPr bwMode="auto">
          <a:xfrm>
            <a:off x="5021796" y="5108575"/>
            <a:ext cx="457465" cy="204788"/>
          </a:xfrm>
          <a:prstGeom prst="rightArrow">
            <a:avLst>
              <a:gd name="adj1" fmla="val 50000"/>
              <a:gd name="adj2" fmla="val 65879"/>
            </a:avLst>
          </a:prstGeom>
          <a:noFill/>
          <a:ln w="254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0" name="AutoShape 48"/>
          <p:cNvSpPr>
            <a:spLocks noChangeArrowheads="1"/>
          </p:cNvSpPr>
          <p:nvPr/>
        </p:nvSpPr>
        <p:spPr bwMode="auto">
          <a:xfrm>
            <a:off x="6105260" y="4527559"/>
            <a:ext cx="199496" cy="417513"/>
          </a:xfrm>
          <a:prstGeom prst="upArrow">
            <a:avLst>
              <a:gd name="adj1" fmla="val 50000"/>
              <a:gd name="adj2" fmla="val 72415"/>
            </a:avLst>
          </a:prstGeom>
          <a:noFill/>
          <a:ln w="254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1" name="Line 49"/>
          <p:cNvSpPr>
            <a:spLocks noChangeShapeType="1"/>
          </p:cNvSpPr>
          <p:nvPr/>
        </p:nvSpPr>
        <p:spPr bwMode="auto">
          <a:xfrm>
            <a:off x="4897967" y="5332413"/>
            <a:ext cx="1434306" cy="0"/>
          </a:xfrm>
          <a:prstGeom prst="line">
            <a:avLst/>
          </a:prstGeom>
          <a:noFill/>
          <a:ln w="25400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2" name="Line 50"/>
          <p:cNvSpPr>
            <a:spLocks noChangeShapeType="1"/>
          </p:cNvSpPr>
          <p:nvPr/>
        </p:nvSpPr>
        <p:spPr bwMode="auto">
          <a:xfrm flipV="1">
            <a:off x="4897969" y="5078413"/>
            <a:ext cx="715433" cy="4762"/>
          </a:xfrm>
          <a:prstGeom prst="line">
            <a:avLst/>
          </a:prstGeom>
          <a:noFill/>
          <a:ln w="25400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3" name="Line 51"/>
          <p:cNvSpPr>
            <a:spLocks noChangeShapeType="1"/>
          </p:cNvSpPr>
          <p:nvPr/>
        </p:nvSpPr>
        <p:spPr bwMode="auto">
          <a:xfrm>
            <a:off x="6332273" y="4335463"/>
            <a:ext cx="0" cy="990600"/>
          </a:xfrm>
          <a:prstGeom prst="line">
            <a:avLst/>
          </a:prstGeom>
          <a:noFill/>
          <a:ln w="25400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4" name="Line 52"/>
          <p:cNvSpPr>
            <a:spLocks noChangeShapeType="1"/>
          </p:cNvSpPr>
          <p:nvPr/>
        </p:nvSpPr>
        <p:spPr bwMode="auto">
          <a:xfrm>
            <a:off x="6091502" y="4335463"/>
            <a:ext cx="0" cy="742950"/>
          </a:xfrm>
          <a:prstGeom prst="line">
            <a:avLst/>
          </a:prstGeom>
          <a:noFill/>
          <a:ln w="25400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5" name="Line 53"/>
          <p:cNvSpPr>
            <a:spLocks noChangeShapeType="1"/>
          </p:cNvSpPr>
          <p:nvPr/>
        </p:nvSpPr>
        <p:spPr bwMode="auto">
          <a:xfrm>
            <a:off x="5613400" y="4335463"/>
            <a:ext cx="0" cy="747712"/>
          </a:xfrm>
          <a:prstGeom prst="line">
            <a:avLst/>
          </a:prstGeom>
          <a:noFill/>
          <a:ln w="25400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6" name="Line 54"/>
          <p:cNvSpPr>
            <a:spLocks noChangeShapeType="1"/>
          </p:cNvSpPr>
          <p:nvPr/>
        </p:nvSpPr>
        <p:spPr bwMode="auto">
          <a:xfrm>
            <a:off x="5852452" y="4335463"/>
            <a:ext cx="0" cy="747712"/>
          </a:xfrm>
          <a:prstGeom prst="line">
            <a:avLst/>
          </a:prstGeom>
          <a:noFill/>
          <a:ln w="25400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7" name="Line 55"/>
          <p:cNvSpPr>
            <a:spLocks noChangeShapeType="1"/>
          </p:cNvSpPr>
          <p:nvPr/>
        </p:nvSpPr>
        <p:spPr bwMode="auto">
          <a:xfrm flipV="1">
            <a:off x="5852451" y="5078413"/>
            <a:ext cx="239051" cy="4762"/>
          </a:xfrm>
          <a:prstGeom prst="line">
            <a:avLst/>
          </a:prstGeom>
          <a:noFill/>
          <a:ln w="25400">
            <a:solidFill>
              <a:srgbClr val="FFFFFF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38968" name="AutoShape 56"/>
          <p:cNvSpPr>
            <a:spLocks noChangeArrowheads="1"/>
          </p:cNvSpPr>
          <p:nvPr/>
        </p:nvSpPr>
        <p:spPr bwMode="auto">
          <a:xfrm>
            <a:off x="5639197" y="4527559"/>
            <a:ext cx="199496" cy="417513"/>
          </a:xfrm>
          <a:prstGeom prst="upArrow">
            <a:avLst>
              <a:gd name="adj1" fmla="val 50000"/>
              <a:gd name="adj2" fmla="val 72415"/>
            </a:avLst>
          </a:prstGeom>
          <a:noFill/>
          <a:ln w="254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83527584"/>
      </p:ext>
    </p:extLst>
  </p:cSld>
  <p:clrMapOvr>
    <a:masterClrMapping/>
  </p:clrMapOvr>
  <p:transition spd="slow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495300" y="457200"/>
            <a:ext cx="8915400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Relationship Matrix</a:t>
            </a:r>
          </a:p>
        </p:txBody>
      </p:sp>
      <p:sp>
        <p:nvSpPr>
          <p:cNvPr id="40963" name="Line 3"/>
          <p:cNvSpPr>
            <a:spLocks noChangeShapeType="1"/>
          </p:cNvSpPr>
          <p:nvPr/>
        </p:nvSpPr>
        <p:spPr bwMode="auto">
          <a:xfrm>
            <a:off x="4670954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64" name="Line 4"/>
          <p:cNvSpPr>
            <a:spLocks noChangeShapeType="1"/>
          </p:cNvSpPr>
          <p:nvPr/>
        </p:nvSpPr>
        <p:spPr bwMode="auto">
          <a:xfrm>
            <a:off x="4433628" y="443865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65" name="Line 5"/>
          <p:cNvSpPr>
            <a:spLocks noChangeShapeType="1"/>
          </p:cNvSpPr>
          <p:nvPr/>
        </p:nvSpPr>
        <p:spPr bwMode="auto">
          <a:xfrm>
            <a:off x="4433628" y="4684713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66" name="Line 6"/>
          <p:cNvSpPr>
            <a:spLocks noChangeShapeType="1"/>
          </p:cNvSpPr>
          <p:nvPr/>
        </p:nvSpPr>
        <p:spPr bwMode="auto">
          <a:xfrm>
            <a:off x="4433628" y="493395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67" name="Line 7"/>
          <p:cNvSpPr>
            <a:spLocks noChangeShapeType="1"/>
          </p:cNvSpPr>
          <p:nvPr/>
        </p:nvSpPr>
        <p:spPr bwMode="auto">
          <a:xfrm>
            <a:off x="4433628" y="518160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68" name="Line 8"/>
          <p:cNvSpPr>
            <a:spLocks noChangeShapeType="1"/>
          </p:cNvSpPr>
          <p:nvPr/>
        </p:nvSpPr>
        <p:spPr bwMode="auto">
          <a:xfrm>
            <a:off x="4433628" y="542925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69" name="Line 9"/>
          <p:cNvSpPr>
            <a:spLocks noChangeShapeType="1"/>
          </p:cNvSpPr>
          <p:nvPr/>
        </p:nvSpPr>
        <p:spPr bwMode="auto">
          <a:xfrm>
            <a:off x="4433628" y="567690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0" name="Line 10"/>
          <p:cNvSpPr>
            <a:spLocks noChangeShapeType="1"/>
          </p:cNvSpPr>
          <p:nvPr/>
        </p:nvSpPr>
        <p:spPr bwMode="auto">
          <a:xfrm>
            <a:off x="4433628" y="592455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1" name="Line 11"/>
          <p:cNvSpPr>
            <a:spLocks noChangeShapeType="1"/>
          </p:cNvSpPr>
          <p:nvPr/>
        </p:nvSpPr>
        <p:spPr bwMode="auto">
          <a:xfrm>
            <a:off x="5162815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2" name="Line 12"/>
          <p:cNvSpPr>
            <a:spLocks noChangeShapeType="1"/>
          </p:cNvSpPr>
          <p:nvPr/>
        </p:nvSpPr>
        <p:spPr bwMode="auto">
          <a:xfrm>
            <a:off x="5401866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3" name="Line 13"/>
          <p:cNvSpPr>
            <a:spLocks noChangeShapeType="1"/>
          </p:cNvSpPr>
          <p:nvPr/>
        </p:nvSpPr>
        <p:spPr bwMode="auto">
          <a:xfrm>
            <a:off x="5647796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4" name="Line 14"/>
          <p:cNvSpPr>
            <a:spLocks noChangeShapeType="1"/>
          </p:cNvSpPr>
          <p:nvPr/>
        </p:nvSpPr>
        <p:spPr bwMode="auto">
          <a:xfrm>
            <a:off x="5890287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5" name="Line 15"/>
          <p:cNvSpPr>
            <a:spLocks noChangeShapeType="1"/>
          </p:cNvSpPr>
          <p:nvPr/>
        </p:nvSpPr>
        <p:spPr bwMode="auto">
          <a:xfrm>
            <a:off x="6136217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6" name="Line 16"/>
          <p:cNvSpPr>
            <a:spLocks noChangeShapeType="1"/>
          </p:cNvSpPr>
          <p:nvPr/>
        </p:nvSpPr>
        <p:spPr bwMode="auto">
          <a:xfrm flipH="1">
            <a:off x="2237449" y="5429250"/>
            <a:ext cx="488421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7" name="Line 17"/>
          <p:cNvSpPr>
            <a:spLocks noChangeShapeType="1"/>
          </p:cNvSpPr>
          <p:nvPr/>
        </p:nvSpPr>
        <p:spPr bwMode="auto">
          <a:xfrm flipV="1">
            <a:off x="5646077" y="1962150"/>
            <a:ext cx="0" cy="4953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8" name="Line 18"/>
          <p:cNvSpPr>
            <a:spLocks noChangeShapeType="1"/>
          </p:cNvSpPr>
          <p:nvPr/>
        </p:nvSpPr>
        <p:spPr bwMode="auto">
          <a:xfrm>
            <a:off x="1750748" y="4191000"/>
            <a:ext cx="2675996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79" name="Line 19"/>
          <p:cNvSpPr>
            <a:spLocks noChangeShapeType="1"/>
          </p:cNvSpPr>
          <p:nvPr/>
        </p:nvSpPr>
        <p:spPr bwMode="auto">
          <a:xfrm>
            <a:off x="2237450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0" name="Line 20"/>
          <p:cNvSpPr>
            <a:spLocks noChangeShapeType="1"/>
          </p:cNvSpPr>
          <p:nvPr/>
        </p:nvSpPr>
        <p:spPr bwMode="auto">
          <a:xfrm>
            <a:off x="1750748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1" name="Line 21"/>
          <p:cNvSpPr>
            <a:spLocks noChangeShapeType="1"/>
          </p:cNvSpPr>
          <p:nvPr/>
        </p:nvSpPr>
        <p:spPr bwMode="auto">
          <a:xfrm>
            <a:off x="2725870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2" name="Line 22"/>
          <p:cNvSpPr>
            <a:spLocks noChangeShapeType="1"/>
          </p:cNvSpPr>
          <p:nvPr/>
        </p:nvSpPr>
        <p:spPr bwMode="auto">
          <a:xfrm>
            <a:off x="2725875" y="4438650"/>
            <a:ext cx="1700873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3" name="Line 23"/>
          <p:cNvSpPr>
            <a:spLocks noChangeShapeType="1"/>
          </p:cNvSpPr>
          <p:nvPr/>
        </p:nvSpPr>
        <p:spPr bwMode="auto">
          <a:xfrm>
            <a:off x="2725875" y="4684713"/>
            <a:ext cx="1700873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4" name="Line 24"/>
          <p:cNvSpPr>
            <a:spLocks noChangeShapeType="1"/>
          </p:cNvSpPr>
          <p:nvPr/>
        </p:nvSpPr>
        <p:spPr bwMode="auto">
          <a:xfrm>
            <a:off x="2725875" y="4933950"/>
            <a:ext cx="1700873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5" name="Line 25"/>
          <p:cNvSpPr>
            <a:spLocks noChangeShapeType="1"/>
          </p:cNvSpPr>
          <p:nvPr/>
        </p:nvSpPr>
        <p:spPr bwMode="auto">
          <a:xfrm>
            <a:off x="2725875" y="5181600"/>
            <a:ext cx="1700873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6" name="Line 26"/>
          <p:cNvSpPr>
            <a:spLocks noChangeShapeType="1"/>
          </p:cNvSpPr>
          <p:nvPr/>
        </p:nvSpPr>
        <p:spPr bwMode="auto">
          <a:xfrm>
            <a:off x="2725875" y="5429250"/>
            <a:ext cx="1700873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7" name="Line 27"/>
          <p:cNvSpPr>
            <a:spLocks noChangeShapeType="1"/>
          </p:cNvSpPr>
          <p:nvPr/>
        </p:nvSpPr>
        <p:spPr bwMode="auto">
          <a:xfrm>
            <a:off x="2725875" y="5676900"/>
            <a:ext cx="1700873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8" name="Line 28"/>
          <p:cNvSpPr>
            <a:spLocks noChangeShapeType="1"/>
          </p:cNvSpPr>
          <p:nvPr/>
        </p:nvSpPr>
        <p:spPr bwMode="auto">
          <a:xfrm>
            <a:off x="2725875" y="5924550"/>
            <a:ext cx="1700873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89" name="Line 29"/>
          <p:cNvSpPr>
            <a:spLocks noChangeShapeType="1"/>
          </p:cNvSpPr>
          <p:nvPr/>
        </p:nvSpPr>
        <p:spPr bwMode="auto">
          <a:xfrm>
            <a:off x="4433623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0" name="Line 30"/>
          <p:cNvSpPr>
            <a:spLocks noChangeShapeType="1"/>
          </p:cNvSpPr>
          <p:nvPr/>
        </p:nvSpPr>
        <p:spPr bwMode="auto">
          <a:xfrm>
            <a:off x="4670954" y="2457450"/>
            <a:ext cx="0" cy="17335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1" name="Line 31"/>
          <p:cNvSpPr>
            <a:spLocks noChangeShapeType="1"/>
          </p:cNvSpPr>
          <p:nvPr/>
        </p:nvSpPr>
        <p:spPr bwMode="auto">
          <a:xfrm>
            <a:off x="4915165" y="2457450"/>
            <a:ext cx="0" cy="1728788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2" name="Line 32"/>
          <p:cNvSpPr>
            <a:spLocks noChangeShapeType="1"/>
          </p:cNvSpPr>
          <p:nvPr/>
        </p:nvSpPr>
        <p:spPr bwMode="auto">
          <a:xfrm>
            <a:off x="5159375" y="2457450"/>
            <a:ext cx="0" cy="1728788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3" name="Line 33"/>
          <p:cNvSpPr>
            <a:spLocks noChangeShapeType="1"/>
          </p:cNvSpPr>
          <p:nvPr/>
        </p:nvSpPr>
        <p:spPr bwMode="auto">
          <a:xfrm>
            <a:off x="5401866" y="2457450"/>
            <a:ext cx="0" cy="17335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4" name="Line 34"/>
          <p:cNvSpPr>
            <a:spLocks noChangeShapeType="1"/>
          </p:cNvSpPr>
          <p:nvPr/>
        </p:nvSpPr>
        <p:spPr bwMode="auto">
          <a:xfrm>
            <a:off x="5646077" y="2457450"/>
            <a:ext cx="0" cy="17335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5" name="Line 35"/>
          <p:cNvSpPr>
            <a:spLocks noChangeShapeType="1"/>
          </p:cNvSpPr>
          <p:nvPr/>
        </p:nvSpPr>
        <p:spPr bwMode="auto">
          <a:xfrm>
            <a:off x="5890287" y="2457450"/>
            <a:ext cx="0" cy="17335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6" name="Line 36"/>
          <p:cNvSpPr>
            <a:spLocks noChangeShapeType="1"/>
          </p:cNvSpPr>
          <p:nvPr/>
        </p:nvSpPr>
        <p:spPr bwMode="auto">
          <a:xfrm>
            <a:off x="6134497" y="2457459"/>
            <a:ext cx="0" cy="1725613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7" name="Line 37"/>
          <p:cNvSpPr>
            <a:spLocks noChangeShapeType="1"/>
          </p:cNvSpPr>
          <p:nvPr/>
        </p:nvSpPr>
        <p:spPr bwMode="auto">
          <a:xfrm>
            <a:off x="4433628" y="245745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8" name="Line 38"/>
          <p:cNvSpPr>
            <a:spLocks noChangeShapeType="1"/>
          </p:cNvSpPr>
          <p:nvPr/>
        </p:nvSpPr>
        <p:spPr bwMode="auto">
          <a:xfrm>
            <a:off x="4433628" y="419100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0999" name="Line 39"/>
          <p:cNvSpPr>
            <a:spLocks noChangeShapeType="1"/>
          </p:cNvSpPr>
          <p:nvPr/>
        </p:nvSpPr>
        <p:spPr bwMode="auto">
          <a:xfrm flipV="1">
            <a:off x="4433623" y="2463800"/>
            <a:ext cx="0" cy="1727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00" name="Line 40"/>
          <p:cNvSpPr>
            <a:spLocks noChangeShapeType="1"/>
          </p:cNvSpPr>
          <p:nvPr/>
        </p:nvSpPr>
        <p:spPr bwMode="auto">
          <a:xfrm>
            <a:off x="6378708" y="2457450"/>
            <a:ext cx="0" cy="17335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01" name="Rectangle 41"/>
          <p:cNvSpPr>
            <a:spLocks noChangeArrowheads="1"/>
          </p:cNvSpPr>
          <p:nvPr/>
        </p:nvSpPr>
        <p:spPr bwMode="auto">
          <a:xfrm rot="16200000">
            <a:off x="1190758" y="4833695"/>
            <a:ext cx="1625600" cy="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85000"/>
              </a:lnSpc>
              <a:spcBef>
                <a:spcPts val="1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</a:t>
            </a:r>
          </a:p>
          <a:p>
            <a:pPr algn="ctr" eaLnBrk="0" latinLnBrk="0" hangingPunct="0">
              <a:lnSpc>
                <a:spcPct val="85000"/>
              </a:lnSpc>
              <a:spcBef>
                <a:spcPts val="1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41002" name="Line 42"/>
          <p:cNvSpPr>
            <a:spLocks noChangeShapeType="1"/>
          </p:cNvSpPr>
          <p:nvPr/>
        </p:nvSpPr>
        <p:spPr bwMode="auto">
          <a:xfrm flipV="1">
            <a:off x="4433623" y="1962150"/>
            <a:ext cx="0" cy="4953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03" name="Line 43"/>
          <p:cNvSpPr>
            <a:spLocks noChangeShapeType="1"/>
          </p:cNvSpPr>
          <p:nvPr/>
        </p:nvSpPr>
        <p:spPr bwMode="auto">
          <a:xfrm>
            <a:off x="6378708" y="1962150"/>
            <a:ext cx="0" cy="4953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04" name="Line 44"/>
          <p:cNvSpPr>
            <a:spLocks noChangeShapeType="1"/>
          </p:cNvSpPr>
          <p:nvPr/>
        </p:nvSpPr>
        <p:spPr bwMode="auto">
          <a:xfrm>
            <a:off x="4433628" y="1962150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05" name="Line 45"/>
          <p:cNvSpPr>
            <a:spLocks noChangeShapeType="1"/>
          </p:cNvSpPr>
          <p:nvPr/>
        </p:nvSpPr>
        <p:spPr bwMode="auto">
          <a:xfrm flipV="1">
            <a:off x="4433623" y="1465272"/>
            <a:ext cx="0" cy="496887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06" name="Rectangle 46"/>
          <p:cNvSpPr>
            <a:spLocks noChangeArrowheads="1"/>
          </p:cNvSpPr>
          <p:nvPr/>
        </p:nvSpPr>
        <p:spPr bwMode="auto">
          <a:xfrm>
            <a:off x="4552289" y="1444627"/>
            <a:ext cx="165100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</p:txBody>
      </p:sp>
      <p:sp>
        <p:nvSpPr>
          <p:cNvPr id="41007" name="Line 47"/>
          <p:cNvSpPr>
            <a:spLocks noChangeShapeType="1"/>
          </p:cNvSpPr>
          <p:nvPr/>
        </p:nvSpPr>
        <p:spPr bwMode="auto">
          <a:xfrm>
            <a:off x="4433628" y="1465263"/>
            <a:ext cx="194336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08" name="Line 48"/>
          <p:cNvSpPr>
            <a:spLocks noChangeShapeType="1"/>
          </p:cNvSpPr>
          <p:nvPr/>
        </p:nvSpPr>
        <p:spPr bwMode="auto">
          <a:xfrm flipV="1">
            <a:off x="2724150" y="2457450"/>
            <a:ext cx="0" cy="17335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09" name="Line 49"/>
          <p:cNvSpPr>
            <a:spLocks noChangeShapeType="1"/>
          </p:cNvSpPr>
          <p:nvPr/>
        </p:nvSpPr>
        <p:spPr bwMode="auto">
          <a:xfrm flipV="1">
            <a:off x="2235729" y="1962150"/>
            <a:ext cx="0" cy="22288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10" name="Line 50"/>
          <p:cNvSpPr>
            <a:spLocks noChangeShapeType="1"/>
          </p:cNvSpPr>
          <p:nvPr/>
        </p:nvSpPr>
        <p:spPr bwMode="auto">
          <a:xfrm>
            <a:off x="2235734" y="1962150"/>
            <a:ext cx="2191015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11" name="Line 51"/>
          <p:cNvSpPr>
            <a:spLocks noChangeShapeType="1"/>
          </p:cNvSpPr>
          <p:nvPr/>
        </p:nvSpPr>
        <p:spPr bwMode="auto">
          <a:xfrm>
            <a:off x="2724150" y="2457450"/>
            <a:ext cx="1702594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12" name="Line 52"/>
          <p:cNvSpPr>
            <a:spLocks noChangeShapeType="1"/>
          </p:cNvSpPr>
          <p:nvPr/>
        </p:nvSpPr>
        <p:spPr bwMode="auto">
          <a:xfrm>
            <a:off x="2235734" y="1962150"/>
            <a:ext cx="2191015" cy="222885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13" name="Rectangle 53"/>
          <p:cNvSpPr>
            <a:spLocks noChangeArrowheads="1"/>
          </p:cNvSpPr>
          <p:nvPr/>
        </p:nvSpPr>
        <p:spPr bwMode="auto">
          <a:xfrm>
            <a:off x="3472497" y="2000250"/>
            <a:ext cx="950580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41014" name="Rectangle 54"/>
          <p:cNvSpPr>
            <a:spLocks noChangeArrowheads="1"/>
          </p:cNvSpPr>
          <p:nvPr/>
        </p:nvSpPr>
        <p:spPr bwMode="auto">
          <a:xfrm rot="16200000">
            <a:off x="2004655" y="3514196"/>
            <a:ext cx="950581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41015" name="Rectangle 55"/>
          <p:cNvSpPr>
            <a:spLocks noChangeArrowheads="1"/>
          </p:cNvSpPr>
          <p:nvPr/>
        </p:nvSpPr>
        <p:spPr bwMode="auto">
          <a:xfrm rot="16200000">
            <a:off x="2352010" y="3414184"/>
            <a:ext cx="1232709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41016" name="Rectangle 56"/>
          <p:cNvSpPr>
            <a:spLocks noChangeArrowheads="1"/>
          </p:cNvSpPr>
          <p:nvPr/>
        </p:nvSpPr>
        <p:spPr bwMode="auto">
          <a:xfrm>
            <a:off x="3180087" y="2514600"/>
            <a:ext cx="1232710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41017" name="Line 57"/>
          <p:cNvSpPr>
            <a:spLocks noChangeShapeType="1"/>
          </p:cNvSpPr>
          <p:nvPr/>
        </p:nvSpPr>
        <p:spPr bwMode="auto">
          <a:xfrm>
            <a:off x="4915165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18" name="Line 58"/>
          <p:cNvSpPr>
            <a:spLocks noChangeShapeType="1"/>
          </p:cNvSpPr>
          <p:nvPr/>
        </p:nvSpPr>
        <p:spPr bwMode="auto">
          <a:xfrm>
            <a:off x="6378708" y="1465272"/>
            <a:ext cx="0" cy="496887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19" name="Line 59"/>
          <p:cNvSpPr>
            <a:spLocks noChangeShapeType="1"/>
          </p:cNvSpPr>
          <p:nvPr/>
        </p:nvSpPr>
        <p:spPr bwMode="auto">
          <a:xfrm>
            <a:off x="1749032" y="6172200"/>
            <a:ext cx="4629679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41040" name="Group 80"/>
          <p:cNvGrpSpPr>
            <a:grpSpLocks/>
          </p:cNvGrpSpPr>
          <p:nvPr/>
        </p:nvGrpSpPr>
        <p:grpSpPr bwMode="auto">
          <a:xfrm>
            <a:off x="4493821" y="4257675"/>
            <a:ext cx="1817819" cy="1595438"/>
            <a:chOff x="2613" y="2682"/>
            <a:chExt cx="1057" cy="1005"/>
          </a:xfrm>
        </p:grpSpPr>
        <p:sp>
          <p:nvSpPr>
            <p:cNvPr id="41020" name="Oval 60"/>
            <p:cNvSpPr>
              <a:spLocks noChangeArrowheads="1"/>
            </p:cNvSpPr>
            <p:nvPr/>
          </p:nvSpPr>
          <p:spPr bwMode="auto">
            <a:xfrm>
              <a:off x="2618" y="3155"/>
              <a:ext cx="56" cy="61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1" name="Oval 61"/>
            <p:cNvSpPr>
              <a:spLocks noChangeArrowheads="1"/>
            </p:cNvSpPr>
            <p:nvPr/>
          </p:nvSpPr>
          <p:spPr bwMode="auto">
            <a:xfrm>
              <a:off x="2635" y="3175"/>
              <a:ext cx="20" cy="24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2" name="Oval 62"/>
            <p:cNvSpPr>
              <a:spLocks noChangeArrowheads="1"/>
            </p:cNvSpPr>
            <p:nvPr/>
          </p:nvSpPr>
          <p:spPr bwMode="auto">
            <a:xfrm>
              <a:off x="2765" y="2845"/>
              <a:ext cx="55" cy="62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3" name="AutoShape 63"/>
            <p:cNvSpPr>
              <a:spLocks noChangeArrowheads="1"/>
            </p:cNvSpPr>
            <p:nvPr/>
          </p:nvSpPr>
          <p:spPr bwMode="auto">
            <a:xfrm>
              <a:off x="3322" y="2838"/>
              <a:ext cx="54" cy="62"/>
            </a:xfrm>
            <a:prstGeom prst="triangle">
              <a:avLst>
                <a:gd name="adj" fmla="val 49995"/>
              </a:avLst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4" name="Oval 64"/>
            <p:cNvSpPr>
              <a:spLocks noChangeArrowheads="1"/>
            </p:cNvSpPr>
            <p:nvPr/>
          </p:nvSpPr>
          <p:spPr bwMode="auto">
            <a:xfrm>
              <a:off x="3043" y="2686"/>
              <a:ext cx="55" cy="63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5" name="Oval 65"/>
            <p:cNvSpPr>
              <a:spLocks noChangeArrowheads="1"/>
            </p:cNvSpPr>
            <p:nvPr/>
          </p:nvSpPr>
          <p:spPr bwMode="auto">
            <a:xfrm>
              <a:off x="3061" y="2706"/>
              <a:ext cx="19" cy="25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6" name="Oval 66"/>
            <p:cNvSpPr>
              <a:spLocks noChangeArrowheads="1"/>
            </p:cNvSpPr>
            <p:nvPr/>
          </p:nvSpPr>
          <p:spPr bwMode="auto">
            <a:xfrm>
              <a:off x="3185" y="3155"/>
              <a:ext cx="55" cy="61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7" name="Oval 67"/>
            <p:cNvSpPr>
              <a:spLocks noChangeArrowheads="1"/>
            </p:cNvSpPr>
            <p:nvPr/>
          </p:nvSpPr>
          <p:spPr bwMode="auto">
            <a:xfrm>
              <a:off x="3202" y="3175"/>
              <a:ext cx="20" cy="24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8" name="Oval 68"/>
            <p:cNvSpPr>
              <a:spLocks noChangeArrowheads="1"/>
            </p:cNvSpPr>
            <p:nvPr/>
          </p:nvSpPr>
          <p:spPr bwMode="auto">
            <a:xfrm>
              <a:off x="2902" y="3311"/>
              <a:ext cx="54" cy="62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29" name="Oval 69"/>
            <p:cNvSpPr>
              <a:spLocks noChangeArrowheads="1"/>
            </p:cNvSpPr>
            <p:nvPr/>
          </p:nvSpPr>
          <p:spPr bwMode="auto">
            <a:xfrm>
              <a:off x="2919" y="3330"/>
              <a:ext cx="20" cy="25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0" name="Oval 70"/>
            <p:cNvSpPr>
              <a:spLocks noChangeArrowheads="1"/>
            </p:cNvSpPr>
            <p:nvPr/>
          </p:nvSpPr>
          <p:spPr bwMode="auto">
            <a:xfrm>
              <a:off x="3611" y="3623"/>
              <a:ext cx="54" cy="62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1" name="Oval 71"/>
            <p:cNvSpPr>
              <a:spLocks noChangeArrowheads="1"/>
            </p:cNvSpPr>
            <p:nvPr/>
          </p:nvSpPr>
          <p:spPr bwMode="auto">
            <a:xfrm>
              <a:off x="3628" y="3643"/>
              <a:ext cx="20" cy="24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2" name="Oval 72"/>
            <p:cNvSpPr>
              <a:spLocks noChangeArrowheads="1"/>
            </p:cNvSpPr>
            <p:nvPr/>
          </p:nvSpPr>
          <p:spPr bwMode="auto">
            <a:xfrm>
              <a:off x="3049" y="3157"/>
              <a:ext cx="54" cy="61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3" name="Oval 73"/>
            <p:cNvSpPr>
              <a:spLocks noChangeArrowheads="1"/>
            </p:cNvSpPr>
            <p:nvPr/>
          </p:nvSpPr>
          <p:spPr bwMode="auto">
            <a:xfrm>
              <a:off x="3616" y="3312"/>
              <a:ext cx="54" cy="63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4" name="Oval 74"/>
            <p:cNvSpPr>
              <a:spLocks noChangeArrowheads="1"/>
            </p:cNvSpPr>
            <p:nvPr/>
          </p:nvSpPr>
          <p:spPr bwMode="auto">
            <a:xfrm>
              <a:off x="2907" y="3625"/>
              <a:ext cx="54" cy="62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5" name="Oval 75"/>
            <p:cNvSpPr>
              <a:spLocks noChangeArrowheads="1"/>
            </p:cNvSpPr>
            <p:nvPr/>
          </p:nvSpPr>
          <p:spPr bwMode="auto">
            <a:xfrm>
              <a:off x="3474" y="3625"/>
              <a:ext cx="55" cy="62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6" name="AutoShape 76"/>
            <p:cNvSpPr>
              <a:spLocks noChangeArrowheads="1"/>
            </p:cNvSpPr>
            <p:nvPr/>
          </p:nvSpPr>
          <p:spPr bwMode="auto">
            <a:xfrm>
              <a:off x="2613" y="2682"/>
              <a:ext cx="54" cy="61"/>
            </a:xfrm>
            <a:prstGeom prst="triangle">
              <a:avLst>
                <a:gd name="adj" fmla="val 49995"/>
              </a:avLst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7" name="AutoShape 77"/>
            <p:cNvSpPr>
              <a:spLocks noChangeArrowheads="1"/>
            </p:cNvSpPr>
            <p:nvPr/>
          </p:nvSpPr>
          <p:spPr bwMode="auto">
            <a:xfrm>
              <a:off x="3605" y="3150"/>
              <a:ext cx="54" cy="62"/>
            </a:xfrm>
            <a:prstGeom prst="triangle">
              <a:avLst>
                <a:gd name="adj" fmla="val 49995"/>
              </a:avLst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8" name="AutoShape 78"/>
            <p:cNvSpPr>
              <a:spLocks noChangeArrowheads="1"/>
            </p:cNvSpPr>
            <p:nvPr/>
          </p:nvSpPr>
          <p:spPr bwMode="auto">
            <a:xfrm>
              <a:off x="3463" y="3306"/>
              <a:ext cx="55" cy="62"/>
            </a:xfrm>
            <a:prstGeom prst="triangle">
              <a:avLst>
                <a:gd name="adj" fmla="val 49995"/>
              </a:avLst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39" name="AutoShape 79"/>
            <p:cNvSpPr>
              <a:spLocks noChangeArrowheads="1"/>
            </p:cNvSpPr>
            <p:nvPr/>
          </p:nvSpPr>
          <p:spPr bwMode="auto">
            <a:xfrm>
              <a:off x="2754" y="3462"/>
              <a:ext cx="55" cy="62"/>
            </a:xfrm>
            <a:prstGeom prst="triangle">
              <a:avLst>
                <a:gd name="adj" fmla="val 49995"/>
              </a:avLst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sp>
        <p:nvSpPr>
          <p:cNvPr id="41041" name="Line 81"/>
          <p:cNvSpPr>
            <a:spLocks noChangeShapeType="1"/>
          </p:cNvSpPr>
          <p:nvPr/>
        </p:nvSpPr>
        <p:spPr bwMode="auto">
          <a:xfrm>
            <a:off x="6378708" y="4191000"/>
            <a:ext cx="0" cy="198120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1042" name="Rectangle 82"/>
          <p:cNvSpPr>
            <a:spLocks noChangeArrowheads="1"/>
          </p:cNvSpPr>
          <p:nvPr/>
        </p:nvSpPr>
        <p:spPr bwMode="auto">
          <a:xfrm>
            <a:off x="6779419" y="3673475"/>
            <a:ext cx="2595166" cy="131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lationship between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 and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WHATs vs. HOWs</a:t>
            </a:r>
          </a:p>
        </p:txBody>
      </p:sp>
      <p:grpSp>
        <p:nvGrpSpPr>
          <p:cNvPr id="41055" name="Group 95"/>
          <p:cNvGrpSpPr>
            <a:grpSpLocks/>
          </p:cNvGrpSpPr>
          <p:nvPr/>
        </p:nvGrpSpPr>
        <p:grpSpPr bwMode="auto">
          <a:xfrm>
            <a:off x="7286758" y="5041900"/>
            <a:ext cx="1614884" cy="933450"/>
            <a:chOff x="4237" y="3176"/>
            <a:chExt cx="939" cy="588"/>
          </a:xfrm>
        </p:grpSpPr>
        <p:sp>
          <p:nvSpPr>
            <p:cNvPr id="41043" name="Rectangle 83"/>
            <p:cNvSpPr>
              <a:spLocks noChangeArrowheads="1"/>
            </p:cNvSpPr>
            <p:nvPr/>
          </p:nvSpPr>
          <p:spPr bwMode="auto">
            <a:xfrm>
              <a:off x="4596" y="3243"/>
              <a:ext cx="444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</a:t>
              </a:r>
            </a:p>
          </p:txBody>
        </p:sp>
        <p:sp>
          <p:nvSpPr>
            <p:cNvPr id="41044" name="Rectangle 84"/>
            <p:cNvSpPr>
              <a:spLocks noChangeArrowheads="1"/>
            </p:cNvSpPr>
            <p:nvPr/>
          </p:nvSpPr>
          <p:spPr bwMode="auto">
            <a:xfrm>
              <a:off x="4595" y="3399"/>
              <a:ext cx="501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Medium</a:t>
              </a:r>
            </a:p>
          </p:txBody>
        </p:sp>
        <p:sp>
          <p:nvSpPr>
            <p:cNvPr id="41045" name="Rectangle 85"/>
            <p:cNvSpPr>
              <a:spLocks noChangeArrowheads="1"/>
            </p:cNvSpPr>
            <p:nvPr/>
          </p:nvSpPr>
          <p:spPr bwMode="auto">
            <a:xfrm>
              <a:off x="4595" y="3565"/>
              <a:ext cx="378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eak</a:t>
              </a:r>
            </a:p>
          </p:txBody>
        </p:sp>
        <p:sp>
          <p:nvSpPr>
            <p:cNvPr id="41046" name="Oval 86"/>
            <p:cNvSpPr>
              <a:spLocks noChangeArrowheads="1"/>
            </p:cNvSpPr>
            <p:nvPr/>
          </p:nvSpPr>
          <p:spPr bwMode="auto">
            <a:xfrm>
              <a:off x="4516" y="3421"/>
              <a:ext cx="55" cy="63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41049" name="Group 89"/>
            <p:cNvGrpSpPr>
              <a:grpSpLocks/>
            </p:cNvGrpSpPr>
            <p:nvPr/>
          </p:nvGrpSpPr>
          <p:grpSpPr bwMode="auto">
            <a:xfrm>
              <a:off x="4512" y="3263"/>
              <a:ext cx="54" cy="62"/>
              <a:chOff x="4512" y="3263"/>
              <a:chExt cx="54" cy="62"/>
            </a:xfrm>
          </p:grpSpPr>
          <p:sp>
            <p:nvSpPr>
              <p:cNvPr id="41047" name="Oval 87"/>
              <p:cNvSpPr>
                <a:spLocks noChangeArrowheads="1"/>
              </p:cNvSpPr>
              <p:nvPr/>
            </p:nvSpPr>
            <p:spPr bwMode="auto">
              <a:xfrm>
                <a:off x="4512" y="3263"/>
                <a:ext cx="54" cy="62"/>
              </a:xfrm>
              <a:prstGeom prst="ellipse">
                <a:avLst/>
              </a:prstGeom>
              <a:noFill/>
              <a:ln w="254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1048" name="Oval 88"/>
              <p:cNvSpPr>
                <a:spLocks noChangeArrowheads="1"/>
              </p:cNvSpPr>
              <p:nvPr/>
            </p:nvSpPr>
            <p:spPr bwMode="auto">
              <a:xfrm>
                <a:off x="4529" y="3283"/>
                <a:ext cx="20" cy="25"/>
              </a:xfrm>
              <a:prstGeom prst="ellipse">
                <a:avLst/>
              </a:prstGeom>
              <a:noFill/>
              <a:ln w="254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41050" name="Rectangle 90"/>
            <p:cNvSpPr>
              <a:spLocks noChangeArrowheads="1"/>
            </p:cNvSpPr>
            <p:nvPr/>
          </p:nvSpPr>
          <p:spPr bwMode="auto">
            <a:xfrm>
              <a:off x="4242" y="3243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41051" name="Rectangle 91"/>
            <p:cNvSpPr>
              <a:spLocks noChangeArrowheads="1"/>
            </p:cNvSpPr>
            <p:nvPr/>
          </p:nvSpPr>
          <p:spPr bwMode="auto">
            <a:xfrm>
              <a:off x="4242" y="3399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41052" name="Rectangle 92"/>
            <p:cNvSpPr>
              <a:spLocks noChangeArrowheads="1"/>
            </p:cNvSpPr>
            <p:nvPr/>
          </p:nvSpPr>
          <p:spPr bwMode="auto">
            <a:xfrm>
              <a:off x="4237" y="3176"/>
              <a:ext cx="939" cy="588"/>
            </a:xfrm>
            <a:prstGeom prst="rect">
              <a:avLst/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1053" name="Rectangle 93"/>
            <p:cNvSpPr>
              <a:spLocks noChangeArrowheads="1"/>
            </p:cNvSpPr>
            <p:nvPr/>
          </p:nvSpPr>
          <p:spPr bwMode="auto">
            <a:xfrm>
              <a:off x="4242" y="3565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1</a:t>
              </a:r>
            </a:p>
          </p:txBody>
        </p:sp>
        <p:sp>
          <p:nvSpPr>
            <p:cNvPr id="41054" name="AutoShape 94"/>
            <p:cNvSpPr>
              <a:spLocks noChangeArrowheads="1"/>
            </p:cNvSpPr>
            <p:nvPr/>
          </p:nvSpPr>
          <p:spPr bwMode="auto">
            <a:xfrm>
              <a:off x="4519" y="3586"/>
              <a:ext cx="54" cy="62"/>
            </a:xfrm>
            <a:prstGeom prst="triangle">
              <a:avLst>
                <a:gd name="adj" fmla="val 49995"/>
              </a:avLst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5739579"/>
      </p:ext>
    </p:extLst>
  </p:cSld>
  <p:clrMapOvr>
    <a:masterClrMapping/>
  </p:clrMapOvr>
  <p:transition spd="slow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title"/>
          </p:nvPr>
        </p:nvSpPr>
        <p:spPr>
          <a:xfrm>
            <a:off x="495300" y="0"/>
            <a:ext cx="8915400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Correlation Matrix</a:t>
            </a:r>
          </a:p>
        </p:txBody>
      </p:sp>
      <p:grpSp>
        <p:nvGrpSpPr>
          <p:cNvPr id="43057" name="Group 49"/>
          <p:cNvGrpSpPr>
            <a:grpSpLocks/>
          </p:cNvGrpSpPr>
          <p:nvPr/>
        </p:nvGrpSpPr>
        <p:grpSpPr bwMode="auto">
          <a:xfrm>
            <a:off x="4366553" y="1085850"/>
            <a:ext cx="1384432" cy="793750"/>
            <a:chOff x="2539" y="684"/>
            <a:chExt cx="805" cy="500"/>
          </a:xfrm>
        </p:grpSpPr>
        <p:grpSp>
          <p:nvGrpSpPr>
            <p:cNvPr id="43013" name="Group 5"/>
            <p:cNvGrpSpPr>
              <a:grpSpLocks/>
            </p:cNvGrpSpPr>
            <p:nvPr/>
          </p:nvGrpSpPr>
          <p:grpSpPr bwMode="auto">
            <a:xfrm>
              <a:off x="3014" y="759"/>
              <a:ext cx="60" cy="64"/>
              <a:chOff x="3014" y="759"/>
              <a:chExt cx="60" cy="64"/>
            </a:xfrm>
          </p:grpSpPr>
          <p:sp>
            <p:nvSpPr>
              <p:cNvPr id="43011" name="Oval 3"/>
              <p:cNvSpPr>
                <a:spLocks noChangeArrowheads="1"/>
              </p:cNvSpPr>
              <p:nvPr/>
            </p:nvSpPr>
            <p:spPr bwMode="auto">
              <a:xfrm>
                <a:off x="3014" y="759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12" name="Oval 4"/>
              <p:cNvSpPr>
                <a:spLocks noChangeArrowheads="1"/>
              </p:cNvSpPr>
              <p:nvPr/>
            </p:nvSpPr>
            <p:spPr bwMode="auto">
              <a:xfrm>
                <a:off x="3031" y="777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18" name="Group 10"/>
            <p:cNvGrpSpPr>
              <a:grpSpLocks/>
            </p:cNvGrpSpPr>
            <p:nvPr/>
          </p:nvGrpSpPr>
          <p:grpSpPr bwMode="auto">
            <a:xfrm>
              <a:off x="2673" y="967"/>
              <a:ext cx="68" cy="71"/>
              <a:chOff x="2673" y="967"/>
              <a:chExt cx="68" cy="71"/>
            </a:xfrm>
          </p:grpSpPr>
          <p:sp>
            <p:nvSpPr>
              <p:cNvPr id="43014" name="Line 6"/>
              <p:cNvSpPr>
                <a:spLocks noChangeShapeType="1"/>
              </p:cNvSpPr>
              <p:nvPr/>
            </p:nvSpPr>
            <p:spPr bwMode="auto">
              <a:xfrm>
                <a:off x="2673" y="1003"/>
                <a:ext cx="68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15" name="Line 7"/>
              <p:cNvSpPr>
                <a:spLocks noChangeShapeType="1"/>
              </p:cNvSpPr>
              <p:nvPr/>
            </p:nvSpPr>
            <p:spPr bwMode="auto">
              <a:xfrm>
                <a:off x="2707" y="967"/>
                <a:ext cx="0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16" name="Line 8"/>
              <p:cNvSpPr>
                <a:spLocks noChangeShapeType="1"/>
              </p:cNvSpPr>
              <p:nvPr/>
            </p:nvSpPr>
            <p:spPr bwMode="auto">
              <a:xfrm flipV="1">
                <a:off x="2673" y="967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17" name="Line 9"/>
              <p:cNvSpPr>
                <a:spLocks noChangeShapeType="1"/>
              </p:cNvSpPr>
              <p:nvPr/>
            </p:nvSpPr>
            <p:spPr bwMode="auto">
              <a:xfrm flipH="1" flipV="1">
                <a:off x="2673" y="967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21" name="Group 13"/>
            <p:cNvGrpSpPr>
              <a:grpSpLocks/>
            </p:cNvGrpSpPr>
            <p:nvPr/>
          </p:nvGrpSpPr>
          <p:grpSpPr bwMode="auto">
            <a:xfrm>
              <a:off x="2744" y="902"/>
              <a:ext cx="59" cy="64"/>
              <a:chOff x="2744" y="902"/>
              <a:chExt cx="59" cy="64"/>
            </a:xfrm>
          </p:grpSpPr>
          <p:sp>
            <p:nvSpPr>
              <p:cNvPr id="43019" name="Oval 11"/>
              <p:cNvSpPr>
                <a:spLocks noChangeArrowheads="1"/>
              </p:cNvSpPr>
              <p:nvPr/>
            </p:nvSpPr>
            <p:spPr bwMode="auto">
              <a:xfrm>
                <a:off x="2744" y="902"/>
                <a:ext cx="59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20" name="Oval 12"/>
              <p:cNvSpPr>
                <a:spLocks noChangeArrowheads="1"/>
              </p:cNvSpPr>
              <p:nvPr/>
            </p:nvSpPr>
            <p:spPr bwMode="auto">
              <a:xfrm>
                <a:off x="2760" y="920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24" name="Group 16"/>
            <p:cNvGrpSpPr>
              <a:grpSpLocks/>
            </p:cNvGrpSpPr>
            <p:nvPr/>
          </p:nvGrpSpPr>
          <p:grpSpPr bwMode="auto">
            <a:xfrm>
              <a:off x="3284" y="1045"/>
              <a:ext cx="60" cy="64"/>
              <a:chOff x="3284" y="1045"/>
              <a:chExt cx="60" cy="64"/>
            </a:xfrm>
          </p:grpSpPr>
          <p:sp>
            <p:nvSpPr>
              <p:cNvPr id="43022" name="Oval 14"/>
              <p:cNvSpPr>
                <a:spLocks noChangeArrowheads="1"/>
              </p:cNvSpPr>
              <p:nvPr/>
            </p:nvSpPr>
            <p:spPr bwMode="auto">
              <a:xfrm>
                <a:off x="3284" y="1045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23" name="Oval 15"/>
              <p:cNvSpPr>
                <a:spLocks noChangeArrowheads="1"/>
              </p:cNvSpPr>
              <p:nvPr/>
            </p:nvSpPr>
            <p:spPr bwMode="auto">
              <a:xfrm>
                <a:off x="3301" y="1063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27" name="Group 19"/>
            <p:cNvGrpSpPr>
              <a:grpSpLocks/>
            </p:cNvGrpSpPr>
            <p:nvPr/>
          </p:nvGrpSpPr>
          <p:grpSpPr bwMode="auto">
            <a:xfrm>
              <a:off x="2539" y="1117"/>
              <a:ext cx="60" cy="63"/>
              <a:chOff x="2539" y="1117"/>
              <a:chExt cx="60" cy="63"/>
            </a:xfrm>
          </p:grpSpPr>
          <p:sp>
            <p:nvSpPr>
              <p:cNvPr id="43025" name="Oval 17"/>
              <p:cNvSpPr>
                <a:spLocks noChangeArrowheads="1"/>
              </p:cNvSpPr>
              <p:nvPr/>
            </p:nvSpPr>
            <p:spPr bwMode="auto">
              <a:xfrm>
                <a:off x="2539" y="1117"/>
                <a:ext cx="60" cy="63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26" name="Oval 18"/>
              <p:cNvSpPr>
                <a:spLocks noChangeArrowheads="1"/>
              </p:cNvSpPr>
              <p:nvPr/>
            </p:nvSpPr>
            <p:spPr bwMode="auto">
              <a:xfrm>
                <a:off x="2556" y="1135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30" name="Group 22"/>
            <p:cNvGrpSpPr>
              <a:grpSpLocks/>
            </p:cNvGrpSpPr>
            <p:nvPr/>
          </p:nvGrpSpPr>
          <p:grpSpPr bwMode="auto">
            <a:xfrm>
              <a:off x="3014" y="1045"/>
              <a:ext cx="60" cy="64"/>
              <a:chOff x="3014" y="1045"/>
              <a:chExt cx="60" cy="64"/>
            </a:xfrm>
          </p:grpSpPr>
          <p:sp>
            <p:nvSpPr>
              <p:cNvPr id="43028" name="Oval 20"/>
              <p:cNvSpPr>
                <a:spLocks noChangeArrowheads="1"/>
              </p:cNvSpPr>
              <p:nvPr/>
            </p:nvSpPr>
            <p:spPr bwMode="auto">
              <a:xfrm>
                <a:off x="3014" y="1045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29" name="Oval 21"/>
              <p:cNvSpPr>
                <a:spLocks noChangeArrowheads="1"/>
              </p:cNvSpPr>
              <p:nvPr/>
            </p:nvSpPr>
            <p:spPr bwMode="auto">
              <a:xfrm>
                <a:off x="3031" y="1063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35" name="Group 27"/>
            <p:cNvGrpSpPr>
              <a:grpSpLocks/>
            </p:cNvGrpSpPr>
            <p:nvPr/>
          </p:nvGrpSpPr>
          <p:grpSpPr bwMode="auto">
            <a:xfrm>
              <a:off x="3147" y="1041"/>
              <a:ext cx="67" cy="72"/>
              <a:chOff x="3147" y="1041"/>
              <a:chExt cx="67" cy="72"/>
            </a:xfrm>
          </p:grpSpPr>
          <p:sp>
            <p:nvSpPr>
              <p:cNvPr id="43031" name="Line 23"/>
              <p:cNvSpPr>
                <a:spLocks noChangeShapeType="1"/>
              </p:cNvSpPr>
              <p:nvPr/>
            </p:nvSpPr>
            <p:spPr bwMode="auto">
              <a:xfrm>
                <a:off x="3147" y="1077"/>
                <a:ext cx="67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32" name="Line 24"/>
              <p:cNvSpPr>
                <a:spLocks noChangeShapeType="1"/>
              </p:cNvSpPr>
              <p:nvPr/>
            </p:nvSpPr>
            <p:spPr bwMode="auto">
              <a:xfrm>
                <a:off x="3180" y="1041"/>
                <a:ext cx="0" cy="72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33" name="Line 25"/>
              <p:cNvSpPr>
                <a:spLocks noChangeShapeType="1"/>
              </p:cNvSpPr>
              <p:nvPr/>
            </p:nvSpPr>
            <p:spPr bwMode="auto">
              <a:xfrm flipV="1">
                <a:off x="3147" y="1041"/>
                <a:ext cx="67" cy="72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34" name="Line 26"/>
              <p:cNvSpPr>
                <a:spLocks noChangeShapeType="1"/>
              </p:cNvSpPr>
              <p:nvPr/>
            </p:nvSpPr>
            <p:spPr bwMode="auto">
              <a:xfrm flipH="1" flipV="1">
                <a:off x="3147" y="1041"/>
                <a:ext cx="67" cy="72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40" name="Group 32"/>
            <p:cNvGrpSpPr>
              <a:grpSpLocks/>
            </p:cNvGrpSpPr>
            <p:nvPr/>
          </p:nvGrpSpPr>
          <p:grpSpPr bwMode="auto">
            <a:xfrm>
              <a:off x="2876" y="895"/>
              <a:ext cx="68" cy="72"/>
              <a:chOff x="2876" y="895"/>
              <a:chExt cx="68" cy="72"/>
            </a:xfrm>
          </p:grpSpPr>
          <p:sp>
            <p:nvSpPr>
              <p:cNvPr id="43036" name="Line 28"/>
              <p:cNvSpPr>
                <a:spLocks noChangeShapeType="1"/>
              </p:cNvSpPr>
              <p:nvPr/>
            </p:nvSpPr>
            <p:spPr bwMode="auto">
              <a:xfrm>
                <a:off x="2876" y="931"/>
                <a:ext cx="68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37" name="Line 29"/>
              <p:cNvSpPr>
                <a:spLocks noChangeShapeType="1"/>
              </p:cNvSpPr>
              <p:nvPr/>
            </p:nvSpPr>
            <p:spPr bwMode="auto">
              <a:xfrm>
                <a:off x="2910" y="895"/>
                <a:ext cx="0" cy="72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38" name="Line 30"/>
              <p:cNvSpPr>
                <a:spLocks noChangeShapeType="1"/>
              </p:cNvSpPr>
              <p:nvPr/>
            </p:nvSpPr>
            <p:spPr bwMode="auto">
              <a:xfrm flipV="1">
                <a:off x="2876" y="895"/>
                <a:ext cx="68" cy="72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39" name="Line 31"/>
              <p:cNvSpPr>
                <a:spLocks noChangeShapeType="1"/>
              </p:cNvSpPr>
              <p:nvPr/>
            </p:nvSpPr>
            <p:spPr bwMode="auto">
              <a:xfrm flipH="1" flipV="1">
                <a:off x="2876" y="895"/>
                <a:ext cx="68" cy="72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45" name="Group 37"/>
            <p:cNvGrpSpPr>
              <a:grpSpLocks/>
            </p:cNvGrpSpPr>
            <p:nvPr/>
          </p:nvGrpSpPr>
          <p:grpSpPr bwMode="auto">
            <a:xfrm>
              <a:off x="2944" y="1110"/>
              <a:ext cx="67" cy="71"/>
              <a:chOff x="2944" y="1110"/>
              <a:chExt cx="67" cy="71"/>
            </a:xfrm>
          </p:grpSpPr>
          <p:sp>
            <p:nvSpPr>
              <p:cNvPr id="43041" name="Line 33"/>
              <p:cNvSpPr>
                <a:spLocks noChangeShapeType="1"/>
              </p:cNvSpPr>
              <p:nvPr/>
            </p:nvSpPr>
            <p:spPr bwMode="auto">
              <a:xfrm>
                <a:off x="2944" y="1146"/>
                <a:ext cx="67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42" name="Line 34"/>
              <p:cNvSpPr>
                <a:spLocks noChangeShapeType="1"/>
              </p:cNvSpPr>
              <p:nvPr/>
            </p:nvSpPr>
            <p:spPr bwMode="auto">
              <a:xfrm>
                <a:off x="2978" y="1110"/>
                <a:ext cx="0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43" name="Line 35"/>
              <p:cNvSpPr>
                <a:spLocks noChangeShapeType="1"/>
              </p:cNvSpPr>
              <p:nvPr/>
            </p:nvSpPr>
            <p:spPr bwMode="auto">
              <a:xfrm flipV="1">
                <a:off x="2944" y="1110"/>
                <a:ext cx="67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44" name="Line 36"/>
              <p:cNvSpPr>
                <a:spLocks noChangeShapeType="1"/>
              </p:cNvSpPr>
              <p:nvPr/>
            </p:nvSpPr>
            <p:spPr bwMode="auto">
              <a:xfrm flipH="1" flipV="1">
                <a:off x="2944" y="1110"/>
                <a:ext cx="67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43046" name="Oval 38"/>
            <p:cNvSpPr>
              <a:spLocks noChangeArrowheads="1"/>
            </p:cNvSpPr>
            <p:nvPr/>
          </p:nvSpPr>
          <p:spPr bwMode="auto">
            <a:xfrm>
              <a:off x="3013" y="904"/>
              <a:ext cx="59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047" name="Oval 39"/>
            <p:cNvSpPr>
              <a:spLocks noChangeArrowheads="1"/>
            </p:cNvSpPr>
            <p:nvPr/>
          </p:nvSpPr>
          <p:spPr bwMode="auto">
            <a:xfrm>
              <a:off x="3080" y="1118"/>
              <a:ext cx="60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43050" name="Group 42"/>
            <p:cNvGrpSpPr>
              <a:grpSpLocks/>
            </p:cNvGrpSpPr>
            <p:nvPr/>
          </p:nvGrpSpPr>
          <p:grpSpPr bwMode="auto">
            <a:xfrm>
              <a:off x="2941" y="684"/>
              <a:ext cx="68" cy="71"/>
              <a:chOff x="2941" y="684"/>
              <a:chExt cx="68" cy="71"/>
            </a:xfrm>
          </p:grpSpPr>
          <p:sp>
            <p:nvSpPr>
              <p:cNvPr id="43048" name="Line 40"/>
              <p:cNvSpPr>
                <a:spLocks noChangeShapeType="1"/>
              </p:cNvSpPr>
              <p:nvPr/>
            </p:nvSpPr>
            <p:spPr bwMode="auto">
              <a:xfrm flipV="1">
                <a:off x="2941" y="684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49" name="Line 41"/>
              <p:cNvSpPr>
                <a:spLocks noChangeShapeType="1"/>
              </p:cNvSpPr>
              <p:nvPr/>
            </p:nvSpPr>
            <p:spPr bwMode="auto">
              <a:xfrm flipH="1" flipV="1">
                <a:off x="2941" y="684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53" name="Group 45"/>
            <p:cNvGrpSpPr>
              <a:grpSpLocks/>
            </p:cNvGrpSpPr>
            <p:nvPr/>
          </p:nvGrpSpPr>
          <p:grpSpPr bwMode="auto">
            <a:xfrm>
              <a:off x="3144" y="898"/>
              <a:ext cx="67" cy="72"/>
              <a:chOff x="3144" y="898"/>
              <a:chExt cx="67" cy="72"/>
            </a:xfrm>
          </p:grpSpPr>
          <p:sp>
            <p:nvSpPr>
              <p:cNvPr id="43051" name="Line 43"/>
              <p:cNvSpPr>
                <a:spLocks noChangeShapeType="1"/>
              </p:cNvSpPr>
              <p:nvPr/>
            </p:nvSpPr>
            <p:spPr bwMode="auto">
              <a:xfrm flipV="1">
                <a:off x="3144" y="898"/>
                <a:ext cx="67" cy="72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52" name="Line 44"/>
              <p:cNvSpPr>
                <a:spLocks noChangeShapeType="1"/>
              </p:cNvSpPr>
              <p:nvPr/>
            </p:nvSpPr>
            <p:spPr bwMode="auto">
              <a:xfrm flipH="1" flipV="1">
                <a:off x="3144" y="898"/>
                <a:ext cx="67" cy="72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056" name="Group 48"/>
            <p:cNvGrpSpPr>
              <a:grpSpLocks/>
            </p:cNvGrpSpPr>
            <p:nvPr/>
          </p:nvGrpSpPr>
          <p:grpSpPr bwMode="auto">
            <a:xfrm>
              <a:off x="2806" y="1113"/>
              <a:ext cx="67" cy="71"/>
              <a:chOff x="2806" y="1113"/>
              <a:chExt cx="67" cy="71"/>
            </a:xfrm>
          </p:grpSpPr>
          <p:sp>
            <p:nvSpPr>
              <p:cNvPr id="43054" name="Line 46"/>
              <p:cNvSpPr>
                <a:spLocks noChangeShapeType="1"/>
              </p:cNvSpPr>
              <p:nvPr/>
            </p:nvSpPr>
            <p:spPr bwMode="auto">
              <a:xfrm flipV="1">
                <a:off x="2806" y="1113"/>
                <a:ext cx="67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055" name="Line 47"/>
              <p:cNvSpPr>
                <a:spLocks noChangeShapeType="1"/>
              </p:cNvSpPr>
              <p:nvPr/>
            </p:nvSpPr>
            <p:spPr bwMode="auto">
              <a:xfrm flipH="1" flipV="1">
                <a:off x="2806" y="1113"/>
                <a:ext cx="67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</p:grpSp>
      <p:sp>
        <p:nvSpPr>
          <p:cNvPr id="43058" name="Line 50"/>
          <p:cNvSpPr>
            <a:spLocks noChangeShapeType="1"/>
          </p:cNvSpPr>
          <p:nvPr/>
        </p:nvSpPr>
        <p:spPr bwMode="auto">
          <a:xfrm>
            <a:off x="4418145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59" name="Line 51"/>
          <p:cNvSpPr>
            <a:spLocks noChangeShapeType="1"/>
          </p:cNvSpPr>
          <p:nvPr/>
        </p:nvSpPr>
        <p:spPr bwMode="auto">
          <a:xfrm>
            <a:off x="4187693" y="4662488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0" name="Line 52"/>
          <p:cNvSpPr>
            <a:spLocks noChangeShapeType="1"/>
          </p:cNvSpPr>
          <p:nvPr/>
        </p:nvSpPr>
        <p:spPr bwMode="auto">
          <a:xfrm>
            <a:off x="4187693" y="4889500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1" name="Line 53"/>
          <p:cNvSpPr>
            <a:spLocks noChangeShapeType="1"/>
          </p:cNvSpPr>
          <p:nvPr/>
        </p:nvSpPr>
        <p:spPr bwMode="auto">
          <a:xfrm>
            <a:off x="4187693" y="5118100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2" name="Line 54"/>
          <p:cNvSpPr>
            <a:spLocks noChangeShapeType="1"/>
          </p:cNvSpPr>
          <p:nvPr/>
        </p:nvSpPr>
        <p:spPr bwMode="auto">
          <a:xfrm>
            <a:off x="4187693" y="5345113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3" name="Line 55"/>
          <p:cNvSpPr>
            <a:spLocks noChangeShapeType="1"/>
          </p:cNvSpPr>
          <p:nvPr/>
        </p:nvSpPr>
        <p:spPr bwMode="auto">
          <a:xfrm>
            <a:off x="4187693" y="5572125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4" name="Line 56"/>
          <p:cNvSpPr>
            <a:spLocks noChangeShapeType="1"/>
          </p:cNvSpPr>
          <p:nvPr/>
        </p:nvSpPr>
        <p:spPr bwMode="auto">
          <a:xfrm>
            <a:off x="4187693" y="5799138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5" name="Line 57"/>
          <p:cNvSpPr>
            <a:spLocks noChangeShapeType="1"/>
          </p:cNvSpPr>
          <p:nvPr/>
        </p:nvSpPr>
        <p:spPr bwMode="auto">
          <a:xfrm>
            <a:off x="4187693" y="6026150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6" name="Line 58"/>
          <p:cNvSpPr>
            <a:spLocks noChangeShapeType="1"/>
          </p:cNvSpPr>
          <p:nvPr/>
        </p:nvSpPr>
        <p:spPr bwMode="auto">
          <a:xfrm>
            <a:off x="4885929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7" name="Line 59"/>
          <p:cNvSpPr>
            <a:spLocks noChangeShapeType="1"/>
          </p:cNvSpPr>
          <p:nvPr/>
        </p:nvSpPr>
        <p:spPr bwMode="auto">
          <a:xfrm>
            <a:off x="5116381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8" name="Line 60"/>
          <p:cNvSpPr>
            <a:spLocks noChangeShapeType="1"/>
          </p:cNvSpPr>
          <p:nvPr/>
        </p:nvSpPr>
        <p:spPr bwMode="auto">
          <a:xfrm>
            <a:off x="5350272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69" name="Line 61"/>
          <p:cNvSpPr>
            <a:spLocks noChangeShapeType="1"/>
          </p:cNvSpPr>
          <p:nvPr/>
        </p:nvSpPr>
        <p:spPr bwMode="auto">
          <a:xfrm>
            <a:off x="5580725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0" name="Line 62"/>
          <p:cNvSpPr>
            <a:spLocks noChangeShapeType="1"/>
          </p:cNvSpPr>
          <p:nvPr/>
        </p:nvSpPr>
        <p:spPr bwMode="auto">
          <a:xfrm>
            <a:off x="5816335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1" name="Line 63"/>
          <p:cNvSpPr>
            <a:spLocks noChangeShapeType="1"/>
          </p:cNvSpPr>
          <p:nvPr/>
        </p:nvSpPr>
        <p:spPr bwMode="auto">
          <a:xfrm flipH="1">
            <a:off x="2096428" y="5572125"/>
            <a:ext cx="46434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2" name="Line 64"/>
          <p:cNvSpPr>
            <a:spLocks noChangeShapeType="1"/>
          </p:cNvSpPr>
          <p:nvPr/>
        </p:nvSpPr>
        <p:spPr bwMode="auto">
          <a:xfrm flipV="1">
            <a:off x="5348552" y="2390784"/>
            <a:ext cx="0" cy="455613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3" name="Line 65"/>
          <p:cNvSpPr>
            <a:spLocks noChangeShapeType="1"/>
          </p:cNvSpPr>
          <p:nvPr/>
        </p:nvSpPr>
        <p:spPr bwMode="auto">
          <a:xfrm>
            <a:off x="1630363" y="4435475"/>
            <a:ext cx="255561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4" name="Line 66"/>
          <p:cNvSpPr>
            <a:spLocks noChangeShapeType="1"/>
          </p:cNvSpPr>
          <p:nvPr/>
        </p:nvSpPr>
        <p:spPr bwMode="auto">
          <a:xfrm>
            <a:off x="2096427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5" name="Line 67"/>
          <p:cNvSpPr>
            <a:spLocks noChangeShapeType="1"/>
          </p:cNvSpPr>
          <p:nvPr/>
        </p:nvSpPr>
        <p:spPr bwMode="auto">
          <a:xfrm>
            <a:off x="1630363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6" name="Line 68"/>
          <p:cNvSpPr>
            <a:spLocks noChangeShapeType="1"/>
          </p:cNvSpPr>
          <p:nvPr/>
        </p:nvSpPr>
        <p:spPr bwMode="auto">
          <a:xfrm>
            <a:off x="1630363" y="6253163"/>
            <a:ext cx="255561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7" name="Line 69"/>
          <p:cNvSpPr>
            <a:spLocks noChangeShapeType="1"/>
          </p:cNvSpPr>
          <p:nvPr/>
        </p:nvSpPr>
        <p:spPr bwMode="auto">
          <a:xfrm>
            <a:off x="2560770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8" name="Line 70"/>
          <p:cNvSpPr>
            <a:spLocks noChangeShapeType="1"/>
          </p:cNvSpPr>
          <p:nvPr/>
        </p:nvSpPr>
        <p:spPr bwMode="auto">
          <a:xfrm>
            <a:off x="2560775" y="4662488"/>
            <a:ext cx="162520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79" name="Line 71"/>
          <p:cNvSpPr>
            <a:spLocks noChangeShapeType="1"/>
          </p:cNvSpPr>
          <p:nvPr/>
        </p:nvSpPr>
        <p:spPr bwMode="auto">
          <a:xfrm>
            <a:off x="2560775" y="4889500"/>
            <a:ext cx="162520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0" name="Line 72"/>
          <p:cNvSpPr>
            <a:spLocks noChangeShapeType="1"/>
          </p:cNvSpPr>
          <p:nvPr/>
        </p:nvSpPr>
        <p:spPr bwMode="auto">
          <a:xfrm>
            <a:off x="2560775" y="5118100"/>
            <a:ext cx="162520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1" name="Line 73"/>
          <p:cNvSpPr>
            <a:spLocks noChangeShapeType="1"/>
          </p:cNvSpPr>
          <p:nvPr/>
        </p:nvSpPr>
        <p:spPr bwMode="auto">
          <a:xfrm>
            <a:off x="2560775" y="5345113"/>
            <a:ext cx="162520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2" name="Line 74"/>
          <p:cNvSpPr>
            <a:spLocks noChangeShapeType="1"/>
          </p:cNvSpPr>
          <p:nvPr/>
        </p:nvSpPr>
        <p:spPr bwMode="auto">
          <a:xfrm>
            <a:off x="2560775" y="5572125"/>
            <a:ext cx="162520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3" name="Line 75"/>
          <p:cNvSpPr>
            <a:spLocks noChangeShapeType="1"/>
          </p:cNvSpPr>
          <p:nvPr/>
        </p:nvSpPr>
        <p:spPr bwMode="auto">
          <a:xfrm>
            <a:off x="2560775" y="5799138"/>
            <a:ext cx="162520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4" name="Line 76"/>
          <p:cNvSpPr>
            <a:spLocks noChangeShapeType="1"/>
          </p:cNvSpPr>
          <p:nvPr/>
        </p:nvSpPr>
        <p:spPr bwMode="auto">
          <a:xfrm>
            <a:off x="2560775" y="6026150"/>
            <a:ext cx="162520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5" name="Line 77"/>
          <p:cNvSpPr>
            <a:spLocks noChangeShapeType="1"/>
          </p:cNvSpPr>
          <p:nvPr/>
        </p:nvSpPr>
        <p:spPr bwMode="auto">
          <a:xfrm>
            <a:off x="4187693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6" name="Line 78"/>
          <p:cNvSpPr>
            <a:spLocks noChangeShapeType="1"/>
          </p:cNvSpPr>
          <p:nvPr/>
        </p:nvSpPr>
        <p:spPr bwMode="auto">
          <a:xfrm>
            <a:off x="4187693" y="6253163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7" name="Line 79"/>
          <p:cNvSpPr>
            <a:spLocks noChangeShapeType="1"/>
          </p:cNvSpPr>
          <p:nvPr/>
        </p:nvSpPr>
        <p:spPr bwMode="auto">
          <a:xfrm>
            <a:off x="6046788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8" name="Line 80"/>
          <p:cNvSpPr>
            <a:spLocks noChangeShapeType="1"/>
          </p:cNvSpPr>
          <p:nvPr/>
        </p:nvSpPr>
        <p:spPr bwMode="auto">
          <a:xfrm>
            <a:off x="4418145" y="2846391"/>
            <a:ext cx="0" cy="15890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89" name="Line 81"/>
          <p:cNvSpPr>
            <a:spLocks noChangeShapeType="1"/>
          </p:cNvSpPr>
          <p:nvPr/>
        </p:nvSpPr>
        <p:spPr bwMode="auto">
          <a:xfrm>
            <a:off x="4650317" y="2846391"/>
            <a:ext cx="0" cy="15843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0" name="Line 82"/>
          <p:cNvSpPr>
            <a:spLocks noChangeShapeType="1"/>
          </p:cNvSpPr>
          <p:nvPr/>
        </p:nvSpPr>
        <p:spPr bwMode="auto">
          <a:xfrm>
            <a:off x="4884208" y="2846391"/>
            <a:ext cx="0" cy="15843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1" name="Line 83"/>
          <p:cNvSpPr>
            <a:spLocks noChangeShapeType="1"/>
          </p:cNvSpPr>
          <p:nvPr/>
        </p:nvSpPr>
        <p:spPr bwMode="auto">
          <a:xfrm>
            <a:off x="5116381" y="2846391"/>
            <a:ext cx="0" cy="15890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2" name="Line 84"/>
          <p:cNvSpPr>
            <a:spLocks noChangeShapeType="1"/>
          </p:cNvSpPr>
          <p:nvPr/>
        </p:nvSpPr>
        <p:spPr bwMode="auto">
          <a:xfrm>
            <a:off x="5348552" y="2846391"/>
            <a:ext cx="0" cy="15890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3" name="Line 85"/>
          <p:cNvSpPr>
            <a:spLocks noChangeShapeType="1"/>
          </p:cNvSpPr>
          <p:nvPr/>
        </p:nvSpPr>
        <p:spPr bwMode="auto">
          <a:xfrm>
            <a:off x="5580725" y="2846391"/>
            <a:ext cx="0" cy="15890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4" name="Line 86"/>
          <p:cNvSpPr>
            <a:spLocks noChangeShapeType="1"/>
          </p:cNvSpPr>
          <p:nvPr/>
        </p:nvSpPr>
        <p:spPr bwMode="auto">
          <a:xfrm>
            <a:off x="5812896" y="2846388"/>
            <a:ext cx="0" cy="158273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5" name="Line 87"/>
          <p:cNvSpPr>
            <a:spLocks noChangeShapeType="1"/>
          </p:cNvSpPr>
          <p:nvPr/>
        </p:nvSpPr>
        <p:spPr bwMode="auto">
          <a:xfrm>
            <a:off x="4187693" y="2846388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6" name="Line 88"/>
          <p:cNvSpPr>
            <a:spLocks noChangeShapeType="1"/>
          </p:cNvSpPr>
          <p:nvPr/>
        </p:nvSpPr>
        <p:spPr bwMode="auto">
          <a:xfrm>
            <a:off x="4187693" y="4435475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7" name="Line 89"/>
          <p:cNvSpPr>
            <a:spLocks noChangeShapeType="1"/>
          </p:cNvSpPr>
          <p:nvPr/>
        </p:nvSpPr>
        <p:spPr bwMode="auto">
          <a:xfrm flipV="1">
            <a:off x="4187693" y="2852744"/>
            <a:ext cx="0" cy="158273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8" name="Line 90"/>
          <p:cNvSpPr>
            <a:spLocks noChangeShapeType="1"/>
          </p:cNvSpPr>
          <p:nvPr/>
        </p:nvSpPr>
        <p:spPr bwMode="auto">
          <a:xfrm>
            <a:off x="6046788" y="2846391"/>
            <a:ext cx="0" cy="15890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099" name="Rectangle 91"/>
          <p:cNvSpPr>
            <a:spLocks noChangeArrowheads="1"/>
          </p:cNvSpPr>
          <p:nvPr/>
        </p:nvSpPr>
        <p:spPr bwMode="auto">
          <a:xfrm rot="16200000">
            <a:off x="1048548" y="5077841"/>
            <a:ext cx="1679575" cy="486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</a:t>
            </a:r>
          </a:p>
        </p:txBody>
      </p:sp>
      <p:sp>
        <p:nvSpPr>
          <p:cNvPr id="43100" name="Line 92"/>
          <p:cNvSpPr>
            <a:spLocks noChangeShapeType="1"/>
          </p:cNvSpPr>
          <p:nvPr/>
        </p:nvSpPr>
        <p:spPr bwMode="auto">
          <a:xfrm flipV="1">
            <a:off x="4187693" y="2390784"/>
            <a:ext cx="0" cy="455613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01" name="Line 93"/>
          <p:cNvSpPr>
            <a:spLocks noChangeShapeType="1"/>
          </p:cNvSpPr>
          <p:nvPr/>
        </p:nvSpPr>
        <p:spPr bwMode="auto">
          <a:xfrm>
            <a:off x="6046788" y="2390784"/>
            <a:ext cx="0" cy="455613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02" name="Line 94"/>
          <p:cNvSpPr>
            <a:spLocks noChangeShapeType="1"/>
          </p:cNvSpPr>
          <p:nvPr/>
        </p:nvSpPr>
        <p:spPr bwMode="auto">
          <a:xfrm>
            <a:off x="4187693" y="2390775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03" name="Line 95"/>
          <p:cNvSpPr>
            <a:spLocks noChangeShapeType="1"/>
          </p:cNvSpPr>
          <p:nvPr/>
        </p:nvSpPr>
        <p:spPr bwMode="auto">
          <a:xfrm flipV="1">
            <a:off x="4187693" y="1936759"/>
            <a:ext cx="0" cy="4540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04" name="Rectangle 96"/>
          <p:cNvSpPr>
            <a:spLocks noChangeArrowheads="1"/>
          </p:cNvSpPr>
          <p:nvPr/>
        </p:nvSpPr>
        <p:spPr bwMode="auto">
          <a:xfrm>
            <a:off x="4290881" y="1908175"/>
            <a:ext cx="1651000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8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</p:txBody>
      </p:sp>
      <p:sp>
        <p:nvSpPr>
          <p:cNvPr id="43105" name="Line 97"/>
          <p:cNvSpPr>
            <a:spLocks noChangeShapeType="1"/>
          </p:cNvSpPr>
          <p:nvPr/>
        </p:nvSpPr>
        <p:spPr bwMode="auto">
          <a:xfrm flipV="1">
            <a:off x="4191133" y="1028700"/>
            <a:ext cx="925248" cy="9080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06" name="Line 98"/>
          <p:cNvSpPr>
            <a:spLocks noChangeShapeType="1"/>
          </p:cNvSpPr>
          <p:nvPr/>
        </p:nvSpPr>
        <p:spPr bwMode="auto">
          <a:xfrm flipH="1" flipV="1">
            <a:off x="4306363" y="1824038"/>
            <a:ext cx="115227" cy="1127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07" name="Line 99"/>
          <p:cNvSpPr>
            <a:spLocks noChangeShapeType="1"/>
          </p:cNvSpPr>
          <p:nvPr/>
        </p:nvSpPr>
        <p:spPr bwMode="auto">
          <a:xfrm flipH="1" flipV="1">
            <a:off x="4421585" y="1709738"/>
            <a:ext cx="233892" cy="2270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08" name="Line 100"/>
          <p:cNvSpPr>
            <a:spLocks noChangeShapeType="1"/>
          </p:cNvSpPr>
          <p:nvPr/>
        </p:nvSpPr>
        <p:spPr bwMode="auto">
          <a:xfrm flipH="1" flipV="1">
            <a:off x="4536810" y="1597029"/>
            <a:ext cx="350838" cy="3397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09" name="Line 101"/>
          <p:cNvSpPr>
            <a:spLocks noChangeShapeType="1"/>
          </p:cNvSpPr>
          <p:nvPr/>
        </p:nvSpPr>
        <p:spPr bwMode="auto">
          <a:xfrm flipH="1" flipV="1">
            <a:off x="4655482" y="1482734"/>
            <a:ext cx="462623" cy="4540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0" name="Line 102"/>
          <p:cNvSpPr>
            <a:spLocks noChangeShapeType="1"/>
          </p:cNvSpPr>
          <p:nvPr/>
        </p:nvSpPr>
        <p:spPr bwMode="auto">
          <a:xfrm flipH="1" flipV="1">
            <a:off x="4772427" y="1368434"/>
            <a:ext cx="581290" cy="5683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1" name="Line 103"/>
          <p:cNvSpPr>
            <a:spLocks noChangeShapeType="1"/>
          </p:cNvSpPr>
          <p:nvPr/>
        </p:nvSpPr>
        <p:spPr bwMode="auto">
          <a:xfrm flipH="1" flipV="1">
            <a:off x="4887648" y="1255722"/>
            <a:ext cx="696516" cy="68103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2" name="Line 104"/>
          <p:cNvSpPr>
            <a:spLocks noChangeShapeType="1"/>
          </p:cNvSpPr>
          <p:nvPr/>
        </p:nvSpPr>
        <p:spPr bwMode="auto">
          <a:xfrm flipH="1" flipV="1">
            <a:off x="5002880" y="1141422"/>
            <a:ext cx="815181" cy="79533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3" name="Line 105"/>
          <p:cNvSpPr>
            <a:spLocks noChangeShapeType="1"/>
          </p:cNvSpPr>
          <p:nvPr/>
        </p:nvSpPr>
        <p:spPr bwMode="auto">
          <a:xfrm flipV="1">
            <a:off x="2559050" y="2846391"/>
            <a:ext cx="0" cy="15890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4" name="Line 106"/>
          <p:cNvSpPr>
            <a:spLocks noChangeShapeType="1"/>
          </p:cNvSpPr>
          <p:nvPr/>
        </p:nvSpPr>
        <p:spPr bwMode="auto">
          <a:xfrm flipV="1">
            <a:off x="2092987" y="2390775"/>
            <a:ext cx="0" cy="20447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5" name="Line 107"/>
          <p:cNvSpPr>
            <a:spLocks noChangeShapeType="1"/>
          </p:cNvSpPr>
          <p:nvPr/>
        </p:nvSpPr>
        <p:spPr bwMode="auto">
          <a:xfrm>
            <a:off x="2092992" y="2390775"/>
            <a:ext cx="209298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6" name="Line 108"/>
          <p:cNvSpPr>
            <a:spLocks noChangeShapeType="1"/>
          </p:cNvSpPr>
          <p:nvPr/>
        </p:nvSpPr>
        <p:spPr bwMode="auto">
          <a:xfrm>
            <a:off x="2559055" y="2846388"/>
            <a:ext cx="162692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7" name="Line 109"/>
          <p:cNvSpPr>
            <a:spLocks noChangeShapeType="1"/>
          </p:cNvSpPr>
          <p:nvPr/>
        </p:nvSpPr>
        <p:spPr bwMode="auto">
          <a:xfrm>
            <a:off x="2092992" y="2390775"/>
            <a:ext cx="2092986" cy="20447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18" name="Rectangle 110"/>
          <p:cNvSpPr>
            <a:spLocks noChangeArrowheads="1"/>
          </p:cNvSpPr>
          <p:nvPr/>
        </p:nvSpPr>
        <p:spPr bwMode="auto">
          <a:xfrm>
            <a:off x="3248924" y="2493963"/>
            <a:ext cx="950580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43119" name="Rectangle 111"/>
          <p:cNvSpPr>
            <a:spLocks noChangeArrowheads="1"/>
          </p:cNvSpPr>
          <p:nvPr/>
        </p:nvSpPr>
        <p:spPr bwMode="auto">
          <a:xfrm rot="16200000">
            <a:off x="1849872" y="3804709"/>
            <a:ext cx="950581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43120" name="Rectangle 112"/>
          <p:cNvSpPr>
            <a:spLocks noChangeArrowheads="1"/>
          </p:cNvSpPr>
          <p:nvPr/>
        </p:nvSpPr>
        <p:spPr bwMode="auto">
          <a:xfrm rot="16200000">
            <a:off x="2190350" y="3677709"/>
            <a:ext cx="1232709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43121" name="Rectangle 113"/>
          <p:cNvSpPr>
            <a:spLocks noChangeArrowheads="1"/>
          </p:cNvSpPr>
          <p:nvPr/>
        </p:nvSpPr>
        <p:spPr bwMode="auto">
          <a:xfrm>
            <a:off x="2913519" y="2909888"/>
            <a:ext cx="1232710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43122" name="Line 114"/>
          <p:cNvSpPr>
            <a:spLocks noChangeShapeType="1"/>
          </p:cNvSpPr>
          <p:nvPr/>
        </p:nvSpPr>
        <p:spPr bwMode="auto">
          <a:xfrm>
            <a:off x="4650317" y="4435475"/>
            <a:ext cx="0" cy="18176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23" name="Line 115"/>
          <p:cNvSpPr>
            <a:spLocks noChangeShapeType="1"/>
          </p:cNvSpPr>
          <p:nvPr/>
        </p:nvSpPr>
        <p:spPr bwMode="auto">
          <a:xfrm>
            <a:off x="6046788" y="1936759"/>
            <a:ext cx="0" cy="4540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24" name="Line 116"/>
          <p:cNvSpPr>
            <a:spLocks noChangeShapeType="1"/>
          </p:cNvSpPr>
          <p:nvPr/>
        </p:nvSpPr>
        <p:spPr bwMode="auto">
          <a:xfrm flipH="1" flipV="1">
            <a:off x="5116381" y="1028700"/>
            <a:ext cx="925248" cy="9080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25" name="Line 117"/>
          <p:cNvSpPr>
            <a:spLocks noChangeShapeType="1"/>
          </p:cNvSpPr>
          <p:nvPr/>
        </p:nvSpPr>
        <p:spPr bwMode="auto">
          <a:xfrm flipV="1">
            <a:off x="5811177" y="1824038"/>
            <a:ext cx="113506" cy="1127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26" name="Line 118"/>
          <p:cNvSpPr>
            <a:spLocks noChangeShapeType="1"/>
          </p:cNvSpPr>
          <p:nvPr/>
        </p:nvSpPr>
        <p:spPr bwMode="auto">
          <a:xfrm flipV="1">
            <a:off x="5575565" y="1709738"/>
            <a:ext cx="235612" cy="2270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27" name="Line 119"/>
          <p:cNvSpPr>
            <a:spLocks noChangeShapeType="1"/>
          </p:cNvSpPr>
          <p:nvPr/>
        </p:nvSpPr>
        <p:spPr bwMode="auto">
          <a:xfrm flipV="1">
            <a:off x="5343393" y="1597029"/>
            <a:ext cx="350838" cy="3397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28" name="Line 120"/>
          <p:cNvSpPr>
            <a:spLocks noChangeShapeType="1"/>
          </p:cNvSpPr>
          <p:nvPr/>
        </p:nvSpPr>
        <p:spPr bwMode="auto">
          <a:xfrm flipV="1">
            <a:off x="5112946" y="1482734"/>
            <a:ext cx="462623" cy="4540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29" name="Line 121"/>
          <p:cNvSpPr>
            <a:spLocks noChangeShapeType="1"/>
          </p:cNvSpPr>
          <p:nvPr/>
        </p:nvSpPr>
        <p:spPr bwMode="auto">
          <a:xfrm flipV="1">
            <a:off x="4879053" y="1368434"/>
            <a:ext cx="581290" cy="5683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30" name="Line 122"/>
          <p:cNvSpPr>
            <a:spLocks noChangeShapeType="1"/>
          </p:cNvSpPr>
          <p:nvPr/>
        </p:nvSpPr>
        <p:spPr bwMode="auto">
          <a:xfrm flipV="1">
            <a:off x="4648597" y="1255722"/>
            <a:ext cx="694796" cy="68103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31" name="Line 123"/>
          <p:cNvSpPr>
            <a:spLocks noChangeShapeType="1"/>
          </p:cNvSpPr>
          <p:nvPr/>
        </p:nvSpPr>
        <p:spPr bwMode="auto">
          <a:xfrm flipV="1">
            <a:off x="4412990" y="1141422"/>
            <a:ext cx="816902" cy="79533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3132" name="Line 124"/>
          <p:cNvSpPr>
            <a:spLocks noChangeShapeType="1"/>
          </p:cNvSpPr>
          <p:nvPr/>
        </p:nvSpPr>
        <p:spPr bwMode="auto">
          <a:xfrm flipH="1">
            <a:off x="4187693" y="1941513"/>
            <a:ext cx="185565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43153" name="Group 145"/>
          <p:cNvGrpSpPr>
            <a:grpSpLocks/>
          </p:cNvGrpSpPr>
          <p:nvPr/>
        </p:nvGrpSpPr>
        <p:grpSpPr bwMode="auto">
          <a:xfrm>
            <a:off x="4239287" y="4492625"/>
            <a:ext cx="1747308" cy="1473200"/>
            <a:chOff x="2465" y="2830"/>
            <a:chExt cx="1016" cy="928"/>
          </a:xfrm>
        </p:grpSpPr>
        <p:sp>
          <p:nvSpPr>
            <p:cNvPr id="43133" name="Oval 125"/>
            <p:cNvSpPr>
              <a:spLocks noChangeArrowheads="1"/>
            </p:cNvSpPr>
            <p:nvPr/>
          </p:nvSpPr>
          <p:spPr bwMode="auto">
            <a:xfrm>
              <a:off x="2470" y="3263"/>
              <a:ext cx="60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34" name="Oval 126"/>
            <p:cNvSpPr>
              <a:spLocks noChangeArrowheads="1"/>
            </p:cNvSpPr>
            <p:nvPr/>
          </p:nvSpPr>
          <p:spPr bwMode="auto">
            <a:xfrm>
              <a:off x="2487" y="3281"/>
              <a:ext cx="26" cy="29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35" name="Oval 127"/>
            <p:cNvSpPr>
              <a:spLocks noChangeArrowheads="1"/>
            </p:cNvSpPr>
            <p:nvPr/>
          </p:nvSpPr>
          <p:spPr bwMode="auto">
            <a:xfrm>
              <a:off x="2610" y="2979"/>
              <a:ext cx="59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36" name="AutoShape 128"/>
            <p:cNvSpPr>
              <a:spLocks noChangeArrowheads="1"/>
            </p:cNvSpPr>
            <p:nvPr/>
          </p:nvSpPr>
          <p:spPr bwMode="auto">
            <a:xfrm>
              <a:off x="3141" y="2973"/>
              <a:ext cx="59" cy="63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37" name="Oval 129"/>
            <p:cNvSpPr>
              <a:spLocks noChangeArrowheads="1"/>
            </p:cNvSpPr>
            <p:nvPr/>
          </p:nvSpPr>
          <p:spPr bwMode="auto">
            <a:xfrm>
              <a:off x="2876" y="2834"/>
              <a:ext cx="60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38" name="Oval 130"/>
            <p:cNvSpPr>
              <a:spLocks noChangeArrowheads="1"/>
            </p:cNvSpPr>
            <p:nvPr/>
          </p:nvSpPr>
          <p:spPr bwMode="auto">
            <a:xfrm>
              <a:off x="2893" y="2852"/>
              <a:ext cx="26" cy="29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39" name="Oval 131"/>
            <p:cNvSpPr>
              <a:spLocks noChangeArrowheads="1"/>
            </p:cNvSpPr>
            <p:nvPr/>
          </p:nvSpPr>
          <p:spPr bwMode="auto">
            <a:xfrm>
              <a:off x="3011" y="3263"/>
              <a:ext cx="60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0" name="Oval 132"/>
            <p:cNvSpPr>
              <a:spLocks noChangeArrowheads="1"/>
            </p:cNvSpPr>
            <p:nvPr/>
          </p:nvSpPr>
          <p:spPr bwMode="auto">
            <a:xfrm>
              <a:off x="3028" y="3281"/>
              <a:ext cx="26" cy="29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1" name="Oval 133"/>
            <p:cNvSpPr>
              <a:spLocks noChangeArrowheads="1"/>
            </p:cNvSpPr>
            <p:nvPr/>
          </p:nvSpPr>
          <p:spPr bwMode="auto">
            <a:xfrm>
              <a:off x="2741" y="3406"/>
              <a:ext cx="59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2" name="Oval 134"/>
            <p:cNvSpPr>
              <a:spLocks noChangeArrowheads="1"/>
            </p:cNvSpPr>
            <p:nvPr/>
          </p:nvSpPr>
          <p:spPr bwMode="auto">
            <a:xfrm>
              <a:off x="2758" y="3424"/>
              <a:ext cx="25" cy="30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3" name="Oval 135"/>
            <p:cNvSpPr>
              <a:spLocks noChangeArrowheads="1"/>
            </p:cNvSpPr>
            <p:nvPr/>
          </p:nvSpPr>
          <p:spPr bwMode="auto">
            <a:xfrm>
              <a:off x="3417" y="3693"/>
              <a:ext cx="59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4" name="Oval 136"/>
            <p:cNvSpPr>
              <a:spLocks noChangeArrowheads="1"/>
            </p:cNvSpPr>
            <p:nvPr/>
          </p:nvSpPr>
          <p:spPr bwMode="auto">
            <a:xfrm>
              <a:off x="3434" y="3710"/>
              <a:ext cx="25" cy="30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5" name="Oval 137"/>
            <p:cNvSpPr>
              <a:spLocks noChangeArrowheads="1"/>
            </p:cNvSpPr>
            <p:nvPr/>
          </p:nvSpPr>
          <p:spPr bwMode="auto">
            <a:xfrm>
              <a:off x="2880" y="3265"/>
              <a:ext cx="60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6" name="Oval 138"/>
            <p:cNvSpPr>
              <a:spLocks noChangeArrowheads="1"/>
            </p:cNvSpPr>
            <p:nvPr/>
          </p:nvSpPr>
          <p:spPr bwMode="auto">
            <a:xfrm>
              <a:off x="3421" y="3408"/>
              <a:ext cx="60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7" name="Oval 139"/>
            <p:cNvSpPr>
              <a:spLocks noChangeArrowheads="1"/>
            </p:cNvSpPr>
            <p:nvPr/>
          </p:nvSpPr>
          <p:spPr bwMode="auto">
            <a:xfrm>
              <a:off x="2745" y="3694"/>
              <a:ext cx="60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8" name="Oval 140"/>
            <p:cNvSpPr>
              <a:spLocks noChangeArrowheads="1"/>
            </p:cNvSpPr>
            <p:nvPr/>
          </p:nvSpPr>
          <p:spPr bwMode="auto">
            <a:xfrm>
              <a:off x="3286" y="3694"/>
              <a:ext cx="59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49" name="AutoShape 141"/>
            <p:cNvSpPr>
              <a:spLocks noChangeArrowheads="1"/>
            </p:cNvSpPr>
            <p:nvPr/>
          </p:nvSpPr>
          <p:spPr bwMode="auto">
            <a:xfrm>
              <a:off x="2465" y="2830"/>
              <a:ext cx="59" cy="63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50" name="AutoShape 142"/>
            <p:cNvSpPr>
              <a:spLocks noChangeArrowheads="1"/>
            </p:cNvSpPr>
            <p:nvPr/>
          </p:nvSpPr>
          <p:spPr bwMode="auto">
            <a:xfrm>
              <a:off x="3411" y="3259"/>
              <a:ext cx="60" cy="63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51" name="AutoShape 143"/>
            <p:cNvSpPr>
              <a:spLocks noChangeArrowheads="1"/>
            </p:cNvSpPr>
            <p:nvPr/>
          </p:nvSpPr>
          <p:spPr bwMode="auto">
            <a:xfrm>
              <a:off x="3276" y="3402"/>
              <a:ext cx="60" cy="63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52" name="AutoShape 144"/>
            <p:cNvSpPr>
              <a:spLocks noChangeArrowheads="1"/>
            </p:cNvSpPr>
            <p:nvPr/>
          </p:nvSpPr>
          <p:spPr bwMode="auto">
            <a:xfrm>
              <a:off x="2600" y="3545"/>
              <a:ext cx="60" cy="6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43189" name="Group 181"/>
          <p:cNvGrpSpPr>
            <a:grpSpLocks/>
          </p:cNvGrpSpPr>
          <p:nvPr/>
        </p:nvGrpSpPr>
        <p:grpSpPr bwMode="auto">
          <a:xfrm>
            <a:off x="6041629" y="1265238"/>
            <a:ext cx="3661436" cy="4826000"/>
            <a:chOff x="3513" y="797"/>
            <a:chExt cx="2129" cy="3040"/>
          </a:xfrm>
        </p:grpSpPr>
        <p:sp>
          <p:nvSpPr>
            <p:cNvPr id="43154" name="Rectangle 146"/>
            <p:cNvSpPr>
              <a:spLocks noChangeArrowheads="1"/>
            </p:cNvSpPr>
            <p:nvPr/>
          </p:nvSpPr>
          <p:spPr bwMode="auto">
            <a:xfrm>
              <a:off x="3632" y="2456"/>
              <a:ext cx="1765" cy="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Relationship between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Customer Requirements and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Technical Descriptors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HATs vs. HOWs</a:t>
              </a:r>
            </a:p>
          </p:txBody>
        </p:sp>
        <p:sp>
          <p:nvSpPr>
            <p:cNvPr id="43155" name="Rectangle 147"/>
            <p:cNvSpPr>
              <a:spLocks noChangeArrowheads="1"/>
            </p:cNvSpPr>
            <p:nvPr/>
          </p:nvSpPr>
          <p:spPr bwMode="auto">
            <a:xfrm>
              <a:off x="4190" y="1412"/>
              <a:ext cx="872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 Positive</a:t>
              </a:r>
            </a:p>
          </p:txBody>
        </p:sp>
        <p:sp>
          <p:nvSpPr>
            <p:cNvPr id="43156" name="Rectangle 148"/>
            <p:cNvSpPr>
              <a:spLocks noChangeArrowheads="1"/>
            </p:cNvSpPr>
            <p:nvPr/>
          </p:nvSpPr>
          <p:spPr bwMode="auto">
            <a:xfrm>
              <a:off x="4189" y="1555"/>
              <a:ext cx="507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Positive</a:t>
              </a:r>
            </a:p>
          </p:txBody>
        </p:sp>
        <p:sp>
          <p:nvSpPr>
            <p:cNvPr id="43157" name="Rectangle 149"/>
            <p:cNvSpPr>
              <a:spLocks noChangeArrowheads="1"/>
            </p:cNvSpPr>
            <p:nvPr/>
          </p:nvSpPr>
          <p:spPr bwMode="auto">
            <a:xfrm>
              <a:off x="4189" y="1707"/>
              <a:ext cx="542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Negative</a:t>
              </a:r>
            </a:p>
          </p:txBody>
        </p:sp>
        <p:sp>
          <p:nvSpPr>
            <p:cNvPr id="43158" name="Oval 150"/>
            <p:cNvSpPr>
              <a:spLocks noChangeArrowheads="1"/>
            </p:cNvSpPr>
            <p:nvPr/>
          </p:nvSpPr>
          <p:spPr bwMode="auto">
            <a:xfrm>
              <a:off x="4113" y="1573"/>
              <a:ext cx="59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43161" name="Group 153"/>
            <p:cNvGrpSpPr>
              <a:grpSpLocks/>
            </p:cNvGrpSpPr>
            <p:nvPr/>
          </p:nvGrpSpPr>
          <p:grpSpPr bwMode="auto">
            <a:xfrm>
              <a:off x="4109" y="1428"/>
              <a:ext cx="59" cy="64"/>
              <a:chOff x="4109" y="1428"/>
              <a:chExt cx="59" cy="64"/>
            </a:xfrm>
          </p:grpSpPr>
          <p:sp>
            <p:nvSpPr>
              <p:cNvPr id="43159" name="Oval 151"/>
              <p:cNvSpPr>
                <a:spLocks noChangeArrowheads="1"/>
              </p:cNvSpPr>
              <p:nvPr/>
            </p:nvSpPr>
            <p:spPr bwMode="auto">
              <a:xfrm>
                <a:off x="4109" y="1428"/>
                <a:ext cx="59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160" name="Oval 152"/>
              <p:cNvSpPr>
                <a:spLocks noChangeArrowheads="1"/>
              </p:cNvSpPr>
              <p:nvPr/>
            </p:nvSpPr>
            <p:spPr bwMode="auto">
              <a:xfrm>
                <a:off x="4126" y="1446"/>
                <a:ext cx="25" cy="30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166" name="Group 158"/>
            <p:cNvGrpSpPr>
              <a:grpSpLocks/>
            </p:cNvGrpSpPr>
            <p:nvPr/>
          </p:nvGrpSpPr>
          <p:grpSpPr bwMode="auto">
            <a:xfrm>
              <a:off x="4113" y="1854"/>
              <a:ext cx="68" cy="71"/>
              <a:chOff x="4113" y="1854"/>
              <a:chExt cx="68" cy="71"/>
            </a:xfrm>
          </p:grpSpPr>
          <p:sp>
            <p:nvSpPr>
              <p:cNvPr id="43162" name="Line 154"/>
              <p:cNvSpPr>
                <a:spLocks noChangeShapeType="1"/>
              </p:cNvSpPr>
              <p:nvPr/>
            </p:nvSpPr>
            <p:spPr bwMode="auto">
              <a:xfrm>
                <a:off x="4113" y="1889"/>
                <a:ext cx="68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163" name="Line 155"/>
              <p:cNvSpPr>
                <a:spLocks noChangeShapeType="1"/>
              </p:cNvSpPr>
              <p:nvPr/>
            </p:nvSpPr>
            <p:spPr bwMode="auto">
              <a:xfrm>
                <a:off x="4147" y="1854"/>
                <a:ext cx="0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164" name="Line 156"/>
              <p:cNvSpPr>
                <a:spLocks noChangeShapeType="1"/>
              </p:cNvSpPr>
              <p:nvPr/>
            </p:nvSpPr>
            <p:spPr bwMode="auto">
              <a:xfrm flipV="1">
                <a:off x="4113" y="1854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165" name="Line 157"/>
              <p:cNvSpPr>
                <a:spLocks noChangeShapeType="1"/>
              </p:cNvSpPr>
              <p:nvPr/>
            </p:nvSpPr>
            <p:spPr bwMode="auto">
              <a:xfrm flipH="1" flipV="1">
                <a:off x="4113" y="1854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43169" name="Group 161"/>
            <p:cNvGrpSpPr>
              <a:grpSpLocks/>
            </p:cNvGrpSpPr>
            <p:nvPr/>
          </p:nvGrpSpPr>
          <p:grpSpPr bwMode="auto">
            <a:xfrm>
              <a:off x="4113" y="1711"/>
              <a:ext cx="68" cy="71"/>
              <a:chOff x="4113" y="1711"/>
              <a:chExt cx="68" cy="71"/>
            </a:xfrm>
          </p:grpSpPr>
          <p:sp>
            <p:nvSpPr>
              <p:cNvPr id="43167" name="Line 159"/>
              <p:cNvSpPr>
                <a:spLocks noChangeShapeType="1"/>
              </p:cNvSpPr>
              <p:nvPr/>
            </p:nvSpPr>
            <p:spPr bwMode="auto">
              <a:xfrm flipV="1">
                <a:off x="4113" y="1711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168" name="Line 160"/>
              <p:cNvSpPr>
                <a:spLocks noChangeShapeType="1"/>
              </p:cNvSpPr>
              <p:nvPr/>
            </p:nvSpPr>
            <p:spPr bwMode="auto">
              <a:xfrm flipH="1" flipV="1">
                <a:off x="4113" y="1711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43170" name="Rectangle 162"/>
            <p:cNvSpPr>
              <a:spLocks noChangeArrowheads="1"/>
            </p:cNvSpPr>
            <p:nvPr/>
          </p:nvSpPr>
          <p:spPr bwMode="auto">
            <a:xfrm>
              <a:off x="4190" y="1841"/>
              <a:ext cx="90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 Negative</a:t>
              </a:r>
            </a:p>
          </p:txBody>
        </p:sp>
        <p:sp>
          <p:nvSpPr>
            <p:cNvPr id="43171" name="Rectangle 163"/>
            <p:cNvSpPr>
              <a:spLocks noChangeArrowheads="1"/>
            </p:cNvSpPr>
            <p:nvPr/>
          </p:nvSpPr>
          <p:spPr bwMode="auto">
            <a:xfrm>
              <a:off x="3852" y="1412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43172" name="Rectangle 164"/>
            <p:cNvSpPr>
              <a:spLocks noChangeArrowheads="1"/>
            </p:cNvSpPr>
            <p:nvPr/>
          </p:nvSpPr>
          <p:spPr bwMode="auto">
            <a:xfrm>
              <a:off x="3852" y="1555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43173" name="Rectangle 165"/>
            <p:cNvSpPr>
              <a:spLocks noChangeArrowheads="1"/>
            </p:cNvSpPr>
            <p:nvPr/>
          </p:nvSpPr>
          <p:spPr bwMode="auto">
            <a:xfrm>
              <a:off x="3875" y="1698"/>
              <a:ext cx="200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-3</a:t>
              </a:r>
            </a:p>
          </p:txBody>
        </p:sp>
        <p:sp>
          <p:nvSpPr>
            <p:cNvPr id="43174" name="Rectangle 166"/>
            <p:cNvSpPr>
              <a:spLocks noChangeArrowheads="1"/>
            </p:cNvSpPr>
            <p:nvPr/>
          </p:nvSpPr>
          <p:spPr bwMode="auto">
            <a:xfrm>
              <a:off x="3875" y="1841"/>
              <a:ext cx="200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-9</a:t>
              </a:r>
            </a:p>
          </p:txBody>
        </p:sp>
        <p:sp>
          <p:nvSpPr>
            <p:cNvPr id="43175" name="Rectangle 167"/>
            <p:cNvSpPr>
              <a:spLocks noChangeArrowheads="1"/>
            </p:cNvSpPr>
            <p:nvPr/>
          </p:nvSpPr>
          <p:spPr bwMode="auto">
            <a:xfrm>
              <a:off x="3847" y="1348"/>
              <a:ext cx="1333" cy="693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76" name="Rectangle 168"/>
            <p:cNvSpPr>
              <a:spLocks noChangeArrowheads="1"/>
            </p:cNvSpPr>
            <p:nvPr/>
          </p:nvSpPr>
          <p:spPr bwMode="auto">
            <a:xfrm>
              <a:off x="3513" y="797"/>
              <a:ext cx="2129" cy="5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Interrelationship between Technical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Descriptors (correlation matrix)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HOWs vs. HOWs</a:t>
              </a:r>
            </a:p>
          </p:txBody>
        </p:sp>
        <p:sp>
          <p:nvSpPr>
            <p:cNvPr id="43177" name="Rectangle 169"/>
            <p:cNvSpPr>
              <a:spLocks noChangeArrowheads="1"/>
            </p:cNvSpPr>
            <p:nvPr/>
          </p:nvSpPr>
          <p:spPr bwMode="auto">
            <a:xfrm>
              <a:off x="4450" y="3351"/>
              <a:ext cx="444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</a:t>
              </a:r>
            </a:p>
          </p:txBody>
        </p:sp>
        <p:sp>
          <p:nvSpPr>
            <p:cNvPr id="43178" name="Rectangle 170"/>
            <p:cNvSpPr>
              <a:spLocks noChangeArrowheads="1"/>
            </p:cNvSpPr>
            <p:nvPr/>
          </p:nvSpPr>
          <p:spPr bwMode="auto">
            <a:xfrm>
              <a:off x="4448" y="3494"/>
              <a:ext cx="501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Medium</a:t>
              </a:r>
            </a:p>
          </p:txBody>
        </p:sp>
        <p:sp>
          <p:nvSpPr>
            <p:cNvPr id="43179" name="Rectangle 171"/>
            <p:cNvSpPr>
              <a:spLocks noChangeArrowheads="1"/>
            </p:cNvSpPr>
            <p:nvPr/>
          </p:nvSpPr>
          <p:spPr bwMode="auto">
            <a:xfrm>
              <a:off x="4448" y="3646"/>
              <a:ext cx="378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eak</a:t>
              </a:r>
            </a:p>
          </p:txBody>
        </p:sp>
        <p:sp>
          <p:nvSpPr>
            <p:cNvPr id="43180" name="Oval 172"/>
            <p:cNvSpPr>
              <a:spLocks noChangeArrowheads="1"/>
            </p:cNvSpPr>
            <p:nvPr/>
          </p:nvSpPr>
          <p:spPr bwMode="auto">
            <a:xfrm>
              <a:off x="4372" y="3512"/>
              <a:ext cx="60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43183" name="Group 175"/>
            <p:cNvGrpSpPr>
              <a:grpSpLocks/>
            </p:cNvGrpSpPr>
            <p:nvPr/>
          </p:nvGrpSpPr>
          <p:grpSpPr bwMode="auto">
            <a:xfrm>
              <a:off x="4368" y="3367"/>
              <a:ext cx="60" cy="64"/>
              <a:chOff x="4368" y="3367"/>
              <a:chExt cx="60" cy="64"/>
            </a:xfrm>
          </p:grpSpPr>
          <p:sp>
            <p:nvSpPr>
              <p:cNvPr id="43181" name="Oval 173"/>
              <p:cNvSpPr>
                <a:spLocks noChangeArrowheads="1"/>
              </p:cNvSpPr>
              <p:nvPr/>
            </p:nvSpPr>
            <p:spPr bwMode="auto">
              <a:xfrm>
                <a:off x="4368" y="3367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3182" name="Oval 174"/>
              <p:cNvSpPr>
                <a:spLocks noChangeArrowheads="1"/>
              </p:cNvSpPr>
              <p:nvPr/>
            </p:nvSpPr>
            <p:spPr bwMode="auto">
              <a:xfrm>
                <a:off x="4385" y="3385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43184" name="Rectangle 176"/>
            <p:cNvSpPr>
              <a:spLocks noChangeArrowheads="1"/>
            </p:cNvSpPr>
            <p:nvPr/>
          </p:nvSpPr>
          <p:spPr bwMode="auto">
            <a:xfrm>
              <a:off x="4112" y="3351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43185" name="Rectangle 177"/>
            <p:cNvSpPr>
              <a:spLocks noChangeArrowheads="1"/>
            </p:cNvSpPr>
            <p:nvPr/>
          </p:nvSpPr>
          <p:spPr bwMode="auto">
            <a:xfrm>
              <a:off x="4112" y="3494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43186" name="Rectangle 178"/>
            <p:cNvSpPr>
              <a:spLocks noChangeArrowheads="1"/>
            </p:cNvSpPr>
            <p:nvPr/>
          </p:nvSpPr>
          <p:spPr bwMode="auto">
            <a:xfrm>
              <a:off x="4106" y="3316"/>
              <a:ext cx="803" cy="521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3187" name="Rectangle 179"/>
            <p:cNvSpPr>
              <a:spLocks noChangeArrowheads="1"/>
            </p:cNvSpPr>
            <p:nvPr/>
          </p:nvSpPr>
          <p:spPr bwMode="auto">
            <a:xfrm>
              <a:off x="4112" y="3646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1</a:t>
              </a:r>
            </a:p>
          </p:txBody>
        </p:sp>
        <p:sp>
          <p:nvSpPr>
            <p:cNvPr id="43188" name="AutoShape 180"/>
            <p:cNvSpPr>
              <a:spLocks noChangeArrowheads="1"/>
            </p:cNvSpPr>
            <p:nvPr/>
          </p:nvSpPr>
          <p:spPr bwMode="auto">
            <a:xfrm>
              <a:off x="4375" y="3662"/>
              <a:ext cx="60" cy="6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9791933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14300"/>
            <a:ext cx="9892242" cy="1189038"/>
          </a:xfrm>
          <a:noFill/>
          <a:ln/>
        </p:spPr>
        <p:txBody>
          <a:bodyPr/>
          <a:lstStyle/>
          <a:p>
            <a:r>
              <a:rPr lang="en-US" altLang="ko-KR" sz="4000">
                <a:ea typeface="굴림" charset="-127"/>
              </a:rPr>
              <a:t>Customer Competitive Assessment</a:t>
            </a:r>
          </a:p>
        </p:txBody>
      </p:sp>
      <p:sp>
        <p:nvSpPr>
          <p:cNvPr id="45059" name="Line 3"/>
          <p:cNvSpPr>
            <a:spLocks noChangeShapeType="1"/>
          </p:cNvSpPr>
          <p:nvPr/>
        </p:nvSpPr>
        <p:spPr bwMode="auto">
          <a:xfrm>
            <a:off x="4036352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0" name="Line 4"/>
          <p:cNvSpPr>
            <a:spLocks noChangeShapeType="1"/>
          </p:cNvSpPr>
          <p:nvPr/>
        </p:nvSpPr>
        <p:spPr bwMode="auto">
          <a:xfrm>
            <a:off x="3799020" y="2047875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1" name="Line 5"/>
          <p:cNvSpPr>
            <a:spLocks noChangeShapeType="1"/>
          </p:cNvSpPr>
          <p:nvPr/>
        </p:nvSpPr>
        <p:spPr bwMode="auto">
          <a:xfrm>
            <a:off x="3799020" y="2311400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2" name="Line 6"/>
          <p:cNvSpPr>
            <a:spLocks noChangeShapeType="1"/>
          </p:cNvSpPr>
          <p:nvPr/>
        </p:nvSpPr>
        <p:spPr bwMode="auto">
          <a:xfrm>
            <a:off x="3799020" y="2578100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3" name="Line 7"/>
          <p:cNvSpPr>
            <a:spLocks noChangeShapeType="1"/>
          </p:cNvSpPr>
          <p:nvPr/>
        </p:nvSpPr>
        <p:spPr bwMode="auto">
          <a:xfrm>
            <a:off x="3799020" y="2840038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4" name="Line 8"/>
          <p:cNvSpPr>
            <a:spLocks noChangeShapeType="1"/>
          </p:cNvSpPr>
          <p:nvPr/>
        </p:nvSpPr>
        <p:spPr bwMode="auto">
          <a:xfrm>
            <a:off x="3799020" y="3106738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5" name="Line 9"/>
          <p:cNvSpPr>
            <a:spLocks noChangeShapeType="1"/>
          </p:cNvSpPr>
          <p:nvPr/>
        </p:nvSpPr>
        <p:spPr bwMode="auto">
          <a:xfrm>
            <a:off x="3799020" y="3370263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6" name="Line 10"/>
          <p:cNvSpPr>
            <a:spLocks noChangeShapeType="1"/>
          </p:cNvSpPr>
          <p:nvPr/>
        </p:nvSpPr>
        <p:spPr bwMode="auto">
          <a:xfrm>
            <a:off x="3799020" y="3633788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7" name="Line 11"/>
          <p:cNvSpPr>
            <a:spLocks noChangeShapeType="1"/>
          </p:cNvSpPr>
          <p:nvPr/>
        </p:nvSpPr>
        <p:spPr bwMode="auto">
          <a:xfrm>
            <a:off x="4519613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8" name="Line 12"/>
          <p:cNvSpPr>
            <a:spLocks noChangeShapeType="1"/>
          </p:cNvSpPr>
          <p:nvPr/>
        </p:nvSpPr>
        <p:spPr bwMode="auto">
          <a:xfrm>
            <a:off x="4755225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69" name="Line 13"/>
          <p:cNvSpPr>
            <a:spLocks noChangeShapeType="1"/>
          </p:cNvSpPr>
          <p:nvPr/>
        </p:nvSpPr>
        <p:spPr bwMode="auto">
          <a:xfrm>
            <a:off x="4995995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0" name="Line 14"/>
          <p:cNvSpPr>
            <a:spLocks noChangeShapeType="1"/>
          </p:cNvSpPr>
          <p:nvPr/>
        </p:nvSpPr>
        <p:spPr bwMode="auto">
          <a:xfrm>
            <a:off x="5235046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1" name="Line 15"/>
          <p:cNvSpPr>
            <a:spLocks noChangeShapeType="1"/>
          </p:cNvSpPr>
          <p:nvPr/>
        </p:nvSpPr>
        <p:spPr bwMode="auto">
          <a:xfrm>
            <a:off x="5477537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2" name="Line 16"/>
          <p:cNvSpPr>
            <a:spLocks noChangeShapeType="1"/>
          </p:cNvSpPr>
          <p:nvPr/>
        </p:nvSpPr>
        <p:spPr bwMode="auto">
          <a:xfrm>
            <a:off x="5953919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3" name="Line 17"/>
          <p:cNvSpPr>
            <a:spLocks noChangeShapeType="1"/>
          </p:cNvSpPr>
          <p:nvPr/>
        </p:nvSpPr>
        <p:spPr bwMode="auto">
          <a:xfrm>
            <a:off x="6194690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4" name="Line 18"/>
          <p:cNvSpPr>
            <a:spLocks noChangeShapeType="1"/>
          </p:cNvSpPr>
          <p:nvPr/>
        </p:nvSpPr>
        <p:spPr bwMode="auto">
          <a:xfrm flipH="1">
            <a:off x="1642401" y="3106738"/>
            <a:ext cx="48154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5" name="Line 19"/>
          <p:cNvSpPr>
            <a:spLocks noChangeShapeType="1"/>
          </p:cNvSpPr>
          <p:nvPr/>
        </p:nvSpPr>
        <p:spPr bwMode="auto">
          <a:xfrm>
            <a:off x="1166024" y="1785938"/>
            <a:ext cx="263128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6" name="Line 20"/>
          <p:cNvSpPr>
            <a:spLocks noChangeShapeType="1"/>
          </p:cNvSpPr>
          <p:nvPr/>
        </p:nvSpPr>
        <p:spPr bwMode="auto">
          <a:xfrm>
            <a:off x="1642402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7" name="Line 21"/>
          <p:cNvSpPr>
            <a:spLocks noChangeShapeType="1"/>
          </p:cNvSpPr>
          <p:nvPr/>
        </p:nvSpPr>
        <p:spPr bwMode="auto">
          <a:xfrm>
            <a:off x="1166019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8" name="Line 22"/>
          <p:cNvSpPr>
            <a:spLocks noChangeShapeType="1"/>
          </p:cNvSpPr>
          <p:nvPr/>
        </p:nvSpPr>
        <p:spPr bwMode="auto">
          <a:xfrm>
            <a:off x="6432021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79" name="Line 23"/>
          <p:cNvSpPr>
            <a:spLocks noChangeShapeType="1"/>
          </p:cNvSpPr>
          <p:nvPr/>
        </p:nvSpPr>
        <p:spPr bwMode="auto">
          <a:xfrm>
            <a:off x="2123943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0" name="Line 24"/>
          <p:cNvSpPr>
            <a:spLocks noChangeShapeType="1"/>
          </p:cNvSpPr>
          <p:nvPr/>
        </p:nvSpPr>
        <p:spPr bwMode="auto">
          <a:xfrm>
            <a:off x="2123948" y="2047875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1" name="Line 25"/>
          <p:cNvSpPr>
            <a:spLocks noChangeShapeType="1"/>
          </p:cNvSpPr>
          <p:nvPr/>
        </p:nvSpPr>
        <p:spPr bwMode="auto">
          <a:xfrm>
            <a:off x="2123948" y="2311400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2" name="Line 26"/>
          <p:cNvSpPr>
            <a:spLocks noChangeShapeType="1"/>
          </p:cNvSpPr>
          <p:nvPr/>
        </p:nvSpPr>
        <p:spPr bwMode="auto">
          <a:xfrm>
            <a:off x="2123948" y="2578100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3" name="Line 27"/>
          <p:cNvSpPr>
            <a:spLocks noChangeShapeType="1"/>
          </p:cNvSpPr>
          <p:nvPr/>
        </p:nvSpPr>
        <p:spPr bwMode="auto">
          <a:xfrm>
            <a:off x="2123948" y="2840038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4" name="Line 28"/>
          <p:cNvSpPr>
            <a:spLocks noChangeShapeType="1"/>
          </p:cNvSpPr>
          <p:nvPr/>
        </p:nvSpPr>
        <p:spPr bwMode="auto">
          <a:xfrm>
            <a:off x="2123948" y="3106738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5" name="Line 29"/>
          <p:cNvSpPr>
            <a:spLocks noChangeShapeType="1"/>
          </p:cNvSpPr>
          <p:nvPr/>
        </p:nvSpPr>
        <p:spPr bwMode="auto">
          <a:xfrm>
            <a:off x="2123948" y="3370263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6" name="Line 30"/>
          <p:cNvSpPr>
            <a:spLocks noChangeShapeType="1"/>
          </p:cNvSpPr>
          <p:nvPr/>
        </p:nvSpPr>
        <p:spPr bwMode="auto">
          <a:xfrm>
            <a:off x="2123948" y="3633788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7" name="Line 31"/>
          <p:cNvSpPr>
            <a:spLocks noChangeShapeType="1"/>
          </p:cNvSpPr>
          <p:nvPr/>
        </p:nvSpPr>
        <p:spPr bwMode="auto">
          <a:xfrm>
            <a:off x="3799020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8" name="Line 32"/>
          <p:cNvSpPr>
            <a:spLocks noChangeShapeType="1"/>
          </p:cNvSpPr>
          <p:nvPr/>
        </p:nvSpPr>
        <p:spPr bwMode="auto">
          <a:xfrm>
            <a:off x="1166019" y="3898900"/>
            <a:ext cx="454885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89" name="Line 33"/>
          <p:cNvSpPr>
            <a:spLocks noChangeShapeType="1"/>
          </p:cNvSpPr>
          <p:nvPr/>
        </p:nvSpPr>
        <p:spPr bwMode="auto">
          <a:xfrm>
            <a:off x="5714868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90" name="Line 34"/>
          <p:cNvSpPr>
            <a:spLocks noChangeShapeType="1"/>
          </p:cNvSpPr>
          <p:nvPr/>
        </p:nvSpPr>
        <p:spPr bwMode="auto">
          <a:xfrm>
            <a:off x="3799020" y="1785938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91" name="Rectangle 35"/>
          <p:cNvSpPr>
            <a:spLocks noChangeArrowheads="1"/>
          </p:cNvSpPr>
          <p:nvPr/>
        </p:nvSpPr>
        <p:spPr bwMode="auto">
          <a:xfrm rot="16200000">
            <a:off x="449263" y="2618009"/>
            <a:ext cx="1928812" cy="486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</a:t>
            </a:r>
          </a:p>
        </p:txBody>
      </p:sp>
      <p:sp>
        <p:nvSpPr>
          <p:cNvPr id="45092" name="Line 36"/>
          <p:cNvSpPr>
            <a:spLocks noChangeShapeType="1"/>
          </p:cNvSpPr>
          <p:nvPr/>
        </p:nvSpPr>
        <p:spPr bwMode="auto">
          <a:xfrm>
            <a:off x="5714868" y="3898909"/>
            <a:ext cx="0" cy="23780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93" name="Line 37"/>
          <p:cNvSpPr>
            <a:spLocks noChangeShapeType="1"/>
          </p:cNvSpPr>
          <p:nvPr/>
        </p:nvSpPr>
        <p:spPr bwMode="auto">
          <a:xfrm>
            <a:off x="5714873" y="6276975"/>
            <a:ext cx="71715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94" name="Rectangle 38"/>
          <p:cNvSpPr>
            <a:spLocks noChangeArrowheads="1"/>
          </p:cNvSpPr>
          <p:nvPr/>
        </p:nvSpPr>
        <p:spPr bwMode="auto">
          <a:xfrm rot="16200000">
            <a:off x="5401878" y="5294685"/>
            <a:ext cx="1393010" cy="646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</a:t>
            </a:r>
          </a:p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45095" name="Rectangle 39"/>
          <p:cNvSpPr>
            <a:spLocks noChangeArrowheads="1"/>
          </p:cNvSpPr>
          <p:nvPr/>
        </p:nvSpPr>
        <p:spPr bwMode="auto">
          <a:xfrm rot="16200000">
            <a:off x="5757526" y="4231441"/>
            <a:ext cx="604333" cy="771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sp>
        <p:nvSpPr>
          <p:cNvPr id="45096" name="Line 40"/>
          <p:cNvSpPr>
            <a:spLocks noChangeShapeType="1"/>
          </p:cNvSpPr>
          <p:nvPr/>
        </p:nvSpPr>
        <p:spPr bwMode="auto">
          <a:xfrm>
            <a:off x="5953919" y="3898909"/>
            <a:ext cx="0" cy="10572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97" name="Line 41"/>
          <p:cNvSpPr>
            <a:spLocks noChangeShapeType="1"/>
          </p:cNvSpPr>
          <p:nvPr/>
        </p:nvSpPr>
        <p:spPr bwMode="auto">
          <a:xfrm>
            <a:off x="6191250" y="3898909"/>
            <a:ext cx="0" cy="10572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98" name="Line 42"/>
          <p:cNvSpPr>
            <a:spLocks noChangeShapeType="1"/>
          </p:cNvSpPr>
          <p:nvPr/>
        </p:nvSpPr>
        <p:spPr bwMode="auto">
          <a:xfrm>
            <a:off x="6432021" y="3898909"/>
            <a:ext cx="0" cy="23780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099" name="Line 43"/>
          <p:cNvSpPr>
            <a:spLocks noChangeShapeType="1"/>
          </p:cNvSpPr>
          <p:nvPr/>
        </p:nvSpPr>
        <p:spPr bwMode="auto">
          <a:xfrm>
            <a:off x="5714873" y="4956175"/>
            <a:ext cx="71715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100" name="Line 44"/>
          <p:cNvSpPr>
            <a:spLocks noChangeShapeType="1"/>
          </p:cNvSpPr>
          <p:nvPr/>
        </p:nvSpPr>
        <p:spPr bwMode="auto">
          <a:xfrm>
            <a:off x="4277122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45121" name="Group 65"/>
          <p:cNvGrpSpPr>
            <a:grpSpLocks/>
          </p:cNvGrpSpPr>
          <p:nvPr/>
        </p:nvGrpSpPr>
        <p:grpSpPr bwMode="auto">
          <a:xfrm>
            <a:off x="3852333" y="1847850"/>
            <a:ext cx="1802342" cy="1716088"/>
            <a:chOff x="2240" y="1164"/>
            <a:chExt cx="1048" cy="1081"/>
          </a:xfrm>
        </p:grpSpPr>
        <p:sp>
          <p:nvSpPr>
            <p:cNvPr id="45101" name="Oval 45"/>
            <p:cNvSpPr>
              <a:spLocks noChangeArrowheads="1"/>
            </p:cNvSpPr>
            <p:nvPr/>
          </p:nvSpPr>
          <p:spPr bwMode="auto">
            <a:xfrm>
              <a:off x="2248" y="1669"/>
              <a:ext cx="60" cy="7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02" name="Oval 46"/>
            <p:cNvSpPr>
              <a:spLocks noChangeArrowheads="1"/>
            </p:cNvSpPr>
            <p:nvPr/>
          </p:nvSpPr>
          <p:spPr bwMode="auto">
            <a:xfrm>
              <a:off x="2265" y="1690"/>
              <a:ext cx="26" cy="3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03" name="Oval 47"/>
            <p:cNvSpPr>
              <a:spLocks noChangeArrowheads="1"/>
            </p:cNvSpPr>
            <p:nvPr/>
          </p:nvSpPr>
          <p:spPr bwMode="auto">
            <a:xfrm>
              <a:off x="2391" y="1336"/>
              <a:ext cx="60" cy="77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04" name="AutoShape 48"/>
            <p:cNvSpPr>
              <a:spLocks noChangeArrowheads="1"/>
            </p:cNvSpPr>
            <p:nvPr/>
          </p:nvSpPr>
          <p:spPr bwMode="auto">
            <a:xfrm>
              <a:off x="2939" y="1330"/>
              <a:ext cx="60" cy="77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05" name="Oval 49"/>
            <p:cNvSpPr>
              <a:spLocks noChangeArrowheads="1"/>
            </p:cNvSpPr>
            <p:nvPr/>
          </p:nvSpPr>
          <p:spPr bwMode="auto">
            <a:xfrm>
              <a:off x="2664" y="1170"/>
              <a:ext cx="63" cy="7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06" name="Oval 50"/>
            <p:cNvSpPr>
              <a:spLocks noChangeArrowheads="1"/>
            </p:cNvSpPr>
            <p:nvPr/>
          </p:nvSpPr>
          <p:spPr bwMode="auto">
            <a:xfrm>
              <a:off x="2682" y="1191"/>
              <a:ext cx="27" cy="3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07" name="Oval 51"/>
            <p:cNvSpPr>
              <a:spLocks noChangeArrowheads="1"/>
            </p:cNvSpPr>
            <p:nvPr/>
          </p:nvSpPr>
          <p:spPr bwMode="auto">
            <a:xfrm>
              <a:off x="2803" y="1669"/>
              <a:ext cx="63" cy="7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08" name="Oval 52"/>
            <p:cNvSpPr>
              <a:spLocks noChangeArrowheads="1"/>
            </p:cNvSpPr>
            <p:nvPr/>
          </p:nvSpPr>
          <p:spPr bwMode="auto">
            <a:xfrm>
              <a:off x="2821" y="1690"/>
              <a:ext cx="27" cy="3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09" name="Oval 53"/>
            <p:cNvSpPr>
              <a:spLocks noChangeArrowheads="1"/>
            </p:cNvSpPr>
            <p:nvPr/>
          </p:nvSpPr>
          <p:spPr bwMode="auto">
            <a:xfrm>
              <a:off x="2525" y="1835"/>
              <a:ext cx="63" cy="7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0" name="Oval 54"/>
            <p:cNvSpPr>
              <a:spLocks noChangeArrowheads="1"/>
            </p:cNvSpPr>
            <p:nvPr/>
          </p:nvSpPr>
          <p:spPr bwMode="auto">
            <a:xfrm>
              <a:off x="2543" y="1856"/>
              <a:ext cx="26" cy="3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1" name="Oval 55"/>
            <p:cNvSpPr>
              <a:spLocks noChangeArrowheads="1"/>
            </p:cNvSpPr>
            <p:nvPr/>
          </p:nvSpPr>
          <p:spPr bwMode="auto">
            <a:xfrm>
              <a:off x="3222" y="2169"/>
              <a:ext cx="62" cy="7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2" name="Oval 56"/>
            <p:cNvSpPr>
              <a:spLocks noChangeArrowheads="1"/>
            </p:cNvSpPr>
            <p:nvPr/>
          </p:nvSpPr>
          <p:spPr bwMode="auto">
            <a:xfrm>
              <a:off x="3239" y="2189"/>
              <a:ext cx="28" cy="3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3" name="Oval 57"/>
            <p:cNvSpPr>
              <a:spLocks noChangeArrowheads="1"/>
            </p:cNvSpPr>
            <p:nvPr/>
          </p:nvSpPr>
          <p:spPr bwMode="auto">
            <a:xfrm>
              <a:off x="2669" y="1670"/>
              <a:ext cx="62" cy="7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4" name="Oval 58"/>
            <p:cNvSpPr>
              <a:spLocks noChangeArrowheads="1"/>
            </p:cNvSpPr>
            <p:nvPr/>
          </p:nvSpPr>
          <p:spPr bwMode="auto">
            <a:xfrm>
              <a:off x="3226" y="1837"/>
              <a:ext cx="62" cy="7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5" name="Oval 59"/>
            <p:cNvSpPr>
              <a:spLocks noChangeArrowheads="1"/>
            </p:cNvSpPr>
            <p:nvPr/>
          </p:nvSpPr>
          <p:spPr bwMode="auto">
            <a:xfrm>
              <a:off x="2530" y="2171"/>
              <a:ext cx="62" cy="7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6" name="Oval 60"/>
            <p:cNvSpPr>
              <a:spLocks noChangeArrowheads="1"/>
            </p:cNvSpPr>
            <p:nvPr/>
          </p:nvSpPr>
          <p:spPr bwMode="auto">
            <a:xfrm>
              <a:off x="3087" y="2171"/>
              <a:ext cx="63" cy="7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7" name="AutoShape 61"/>
            <p:cNvSpPr>
              <a:spLocks noChangeArrowheads="1"/>
            </p:cNvSpPr>
            <p:nvPr/>
          </p:nvSpPr>
          <p:spPr bwMode="auto">
            <a:xfrm>
              <a:off x="2240" y="1164"/>
              <a:ext cx="63" cy="75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8" name="AutoShape 62"/>
            <p:cNvSpPr>
              <a:spLocks noChangeArrowheads="1"/>
            </p:cNvSpPr>
            <p:nvPr/>
          </p:nvSpPr>
          <p:spPr bwMode="auto">
            <a:xfrm>
              <a:off x="3216" y="1664"/>
              <a:ext cx="63" cy="7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19" name="AutoShape 63"/>
            <p:cNvSpPr>
              <a:spLocks noChangeArrowheads="1"/>
            </p:cNvSpPr>
            <p:nvPr/>
          </p:nvSpPr>
          <p:spPr bwMode="auto">
            <a:xfrm>
              <a:off x="3077" y="1829"/>
              <a:ext cx="61" cy="77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20" name="AutoShape 64"/>
            <p:cNvSpPr>
              <a:spLocks noChangeArrowheads="1"/>
            </p:cNvSpPr>
            <p:nvPr/>
          </p:nvSpPr>
          <p:spPr bwMode="auto">
            <a:xfrm>
              <a:off x="2381" y="1997"/>
              <a:ext cx="60" cy="7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sp>
        <p:nvSpPr>
          <p:cNvPr id="45122" name="Line 66"/>
          <p:cNvSpPr>
            <a:spLocks noChangeShapeType="1"/>
          </p:cNvSpPr>
          <p:nvPr/>
        </p:nvSpPr>
        <p:spPr bwMode="auto">
          <a:xfrm>
            <a:off x="5714873" y="3898900"/>
            <a:ext cx="71715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5123" name="Rectangle 67"/>
          <p:cNvSpPr>
            <a:spLocks noChangeArrowheads="1"/>
          </p:cNvSpPr>
          <p:nvPr/>
        </p:nvSpPr>
        <p:spPr bwMode="auto">
          <a:xfrm>
            <a:off x="5695952" y="1771659"/>
            <a:ext cx="275167" cy="215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</p:txBody>
      </p:sp>
      <p:grpSp>
        <p:nvGrpSpPr>
          <p:cNvPr id="45137" name="Group 81"/>
          <p:cNvGrpSpPr>
            <a:grpSpLocks/>
          </p:cNvGrpSpPr>
          <p:nvPr/>
        </p:nvGrpSpPr>
        <p:grpSpPr bwMode="auto">
          <a:xfrm>
            <a:off x="6481900" y="2149475"/>
            <a:ext cx="3035432" cy="2192338"/>
            <a:chOff x="3769" y="1354"/>
            <a:chExt cx="1765" cy="1381"/>
          </a:xfrm>
        </p:grpSpPr>
        <p:sp>
          <p:nvSpPr>
            <p:cNvPr id="45124" name="Rectangle 68"/>
            <p:cNvSpPr>
              <a:spLocks noChangeArrowheads="1"/>
            </p:cNvSpPr>
            <p:nvPr/>
          </p:nvSpPr>
          <p:spPr bwMode="auto">
            <a:xfrm>
              <a:off x="3769" y="1354"/>
              <a:ext cx="1765" cy="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Relationship between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Customer Requirements and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Technical Descriptors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HATs vs. HOWs</a:t>
              </a:r>
            </a:p>
          </p:txBody>
        </p:sp>
        <p:sp>
          <p:nvSpPr>
            <p:cNvPr id="45125" name="Rectangle 69"/>
            <p:cNvSpPr>
              <a:spLocks noChangeArrowheads="1"/>
            </p:cNvSpPr>
            <p:nvPr/>
          </p:nvSpPr>
          <p:spPr bwMode="auto">
            <a:xfrm>
              <a:off x="4587" y="2249"/>
              <a:ext cx="444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</a:t>
              </a:r>
            </a:p>
          </p:txBody>
        </p:sp>
        <p:sp>
          <p:nvSpPr>
            <p:cNvPr id="45126" name="Rectangle 70"/>
            <p:cNvSpPr>
              <a:spLocks noChangeArrowheads="1"/>
            </p:cNvSpPr>
            <p:nvPr/>
          </p:nvSpPr>
          <p:spPr bwMode="auto">
            <a:xfrm>
              <a:off x="4585" y="2392"/>
              <a:ext cx="501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Medium</a:t>
              </a:r>
            </a:p>
          </p:txBody>
        </p:sp>
        <p:sp>
          <p:nvSpPr>
            <p:cNvPr id="45127" name="Rectangle 71"/>
            <p:cNvSpPr>
              <a:spLocks noChangeArrowheads="1"/>
            </p:cNvSpPr>
            <p:nvPr/>
          </p:nvSpPr>
          <p:spPr bwMode="auto">
            <a:xfrm>
              <a:off x="4585" y="2544"/>
              <a:ext cx="378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eak</a:t>
              </a:r>
            </a:p>
          </p:txBody>
        </p:sp>
        <p:sp>
          <p:nvSpPr>
            <p:cNvPr id="45128" name="Oval 72"/>
            <p:cNvSpPr>
              <a:spLocks noChangeArrowheads="1"/>
            </p:cNvSpPr>
            <p:nvPr/>
          </p:nvSpPr>
          <p:spPr bwMode="auto">
            <a:xfrm>
              <a:off x="4509" y="2410"/>
              <a:ext cx="60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45131" name="Group 75"/>
            <p:cNvGrpSpPr>
              <a:grpSpLocks/>
            </p:cNvGrpSpPr>
            <p:nvPr/>
          </p:nvGrpSpPr>
          <p:grpSpPr bwMode="auto">
            <a:xfrm>
              <a:off x="4505" y="2265"/>
              <a:ext cx="60" cy="64"/>
              <a:chOff x="4505" y="2265"/>
              <a:chExt cx="60" cy="64"/>
            </a:xfrm>
          </p:grpSpPr>
          <p:sp>
            <p:nvSpPr>
              <p:cNvPr id="45129" name="Oval 73"/>
              <p:cNvSpPr>
                <a:spLocks noChangeArrowheads="1"/>
              </p:cNvSpPr>
              <p:nvPr/>
            </p:nvSpPr>
            <p:spPr bwMode="auto">
              <a:xfrm>
                <a:off x="4505" y="2265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5130" name="Oval 74"/>
              <p:cNvSpPr>
                <a:spLocks noChangeArrowheads="1"/>
              </p:cNvSpPr>
              <p:nvPr/>
            </p:nvSpPr>
            <p:spPr bwMode="auto">
              <a:xfrm>
                <a:off x="4522" y="2283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45132" name="Rectangle 76"/>
            <p:cNvSpPr>
              <a:spLocks noChangeArrowheads="1"/>
            </p:cNvSpPr>
            <p:nvPr/>
          </p:nvSpPr>
          <p:spPr bwMode="auto">
            <a:xfrm>
              <a:off x="4249" y="2249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45133" name="Rectangle 77"/>
            <p:cNvSpPr>
              <a:spLocks noChangeArrowheads="1"/>
            </p:cNvSpPr>
            <p:nvPr/>
          </p:nvSpPr>
          <p:spPr bwMode="auto">
            <a:xfrm>
              <a:off x="4249" y="2392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45134" name="Rectangle 78"/>
            <p:cNvSpPr>
              <a:spLocks noChangeArrowheads="1"/>
            </p:cNvSpPr>
            <p:nvPr/>
          </p:nvSpPr>
          <p:spPr bwMode="auto">
            <a:xfrm>
              <a:off x="4243" y="2214"/>
              <a:ext cx="803" cy="521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5135" name="Rectangle 79"/>
            <p:cNvSpPr>
              <a:spLocks noChangeArrowheads="1"/>
            </p:cNvSpPr>
            <p:nvPr/>
          </p:nvSpPr>
          <p:spPr bwMode="auto">
            <a:xfrm>
              <a:off x="4249" y="2544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1</a:t>
              </a:r>
            </a:p>
          </p:txBody>
        </p:sp>
        <p:sp>
          <p:nvSpPr>
            <p:cNvPr id="45136" name="AutoShape 80"/>
            <p:cNvSpPr>
              <a:spLocks noChangeArrowheads="1"/>
            </p:cNvSpPr>
            <p:nvPr/>
          </p:nvSpPr>
          <p:spPr bwMode="auto">
            <a:xfrm>
              <a:off x="4512" y="2560"/>
              <a:ext cx="60" cy="6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5318897"/>
      </p:ext>
    </p:extLst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ChangeArrowheads="1"/>
          </p:cNvSpPr>
          <p:nvPr/>
        </p:nvSpPr>
        <p:spPr bwMode="auto">
          <a:xfrm>
            <a:off x="3761041" y="3867150"/>
            <a:ext cx="987450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  3  4  2</a:t>
            </a:r>
          </a:p>
        </p:txBody>
      </p:sp>
      <p:sp>
        <p:nvSpPr>
          <p:cNvPr id="47107" name="Rectangle 3"/>
          <p:cNvSpPr>
            <a:spLocks noChangeArrowheads="1"/>
          </p:cNvSpPr>
          <p:nvPr/>
        </p:nvSpPr>
        <p:spPr bwMode="auto">
          <a:xfrm>
            <a:off x="4734443" y="3865563"/>
            <a:ext cx="987450" cy="339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  2  1  4</a:t>
            </a:r>
          </a:p>
        </p:txBody>
      </p:sp>
      <p:sp>
        <p:nvSpPr>
          <p:cNvPr id="47108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14300"/>
            <a:ext cx="9892242" cy="1189038"/>
          </a:xfrm>
          <a:noFill/>
          <a:ln/>
        </p:spPr>
        <p:txBody>
          <a:bodyPr/>
          <a:lstStyle/>
          <a:p>
            <a:r>
              <a:rPr lang="en-US" altLang="ko-KR" sz="4000">
                <a:ea typeface="굴림" charset="-127"/>
              </a:rPr>
              <a:t>Technical Competitive Assessment</a:t>
            </a:r>
          </a:p>
        </p:txBody>
      </p:sp>
      <p:sp>
        <p:nvSpPr>
          <p:cNvPr id="47109" name="Line 5"/>
          <p:cNvSpPr>
            <a:spLocks noChangeShapeType="1"/>
          </p:cNvSpPr>
          <p:nvPr/>
        </p:nvSpPr>
        <p:spPr bwMode="auto">
          <a:xfrm>
            <a:off x="4036352" y="1785938"/>
            <a:ext cx="0" cy="27860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0" name="Line 6"/>
          <p:cNvSpPr>
            <a:spLocks noChangeShapeType="1"/>
          </p:cNvSpPr>
          <p:nvPr/>
        </p:nvSpPr>
        <p:spPr bwMode="auto">
          <a:xfrm>
            <a:off x="3799020" y="2047875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1" name="Line 7"/>
          <p:cNvSpPr>
            <a:spLocks noChangeShapeType="1"/>
          </p:cNvSpPr>
          <p:nvPr/>
        </p:nvSpPr>
        <p:spPr bwMode="auto">
          <a:xfrm>
            <a:off x="3799020" y="2311400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2" name="Line 8"/>
          <p:cNvSpPr>
            <a:spLocks noChangeShapeType="1"/>
          </p:cNvSpPr>
          <p:nvPr/>
        </p:nvSpPr>
        <p:spPr bwMode="auto">
          <a:xfrm>
            <a:off x="3799020" y="2578100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3" name="Line 9"/>
          <p:cNvSpPr>
            <a:spLocks noChangeShapeType="1"/>
          </p:cNvSpPr>
          <p:nvPr/>
        </p:nvSpPr>
        <p:spPr bwMode="auto">
          <a:xfrm>
            <a:off x="3799020" y="2840038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4" name="Line 10"/>
          <p:cNvSpPr>
            <a:spLocks noChangeShapeType="1"/>
          </p:cNvSpPr>
          <p:nvPr/>
        </p:nvSpPr>
        <p:spPr bwMode="auto">
          <a:xfrm>
            <a:off x="3799020" y="3106738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5" name="Line 11"/>
          <p:cNvSpPr>
            <a:spLocks noChangeShapeType="1"/>
          </p:cNvSpPr>
          <p:nvPr/>
        </p:nvSpPr>
        <p:spPr bwMode="auto">
          <a:xfrm>
            <a:off x="3799020" y="3370263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6" name="Line 12"/>
          <p:cNvSpPr>
            <a:spLocks noChangeShapeType="1"/>
          </p:cNvSpPr>
          <p:nvPr/>
        </p:nvSpPr>
        <p:spPr bwMode="auto">
          <a:xfrm>
            <a:off x="3799020" y="3633788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7" name="Line 13"/>
          <p:cNvSpPr>
            <a:spLocks noChangeShapeType="1"/>
          </p:cNvSpPr>
          <p:nvPr/>
        </p:nvSpPr>
        <p:spPr bwMode="auto">
          <a:xfrm flipH="1">
            <a:off x="4517898" y="1785938"/>
            <a:ext cx="1719" cy="27813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8" name="Line 14"/>
          <p:cNvSpPr>
            <a:spLocks noChangeShapeType="1"/>
          </p:cNvSpPr>
          <p:nvPr/>
        </p:nvSpPr>
        <p:spPr bwMode="auto">
          <a:xfrm>
            <a:off x="4755225" y="1785938"/>
            <a:ext cx="0" cy="27860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19" name="Line 15"/>
          <p:cNvSpPr>
            <a:spLocks noChangeShapeType="1"/>
          </p:cNvSpPr>
          <p:nvPr/>
        </p:nvSpPr>
        <p:spPr bwMode="auto">
          <a:xfrm>
            <a:off x="4996000" y="1785938"/>
            <a:ext cx="1719" cy="27860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0" name="Line 16"/>
          <p:cNvSpPr>
            <a:spLocks noChangeShapeType="1"/>
          </p:cNvSpPr>
          <p:nvPr/>
        </p:nvSpPr>
        <p:spPr bwMode="auto">
          <a:xfrm flipH="1">
            <a:off x="5233332" y="1785938"/>
            <a:ext cx="1719" cy="27860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1" name="Line 17"/>
          <p:cNvSpPr>
            <a:spLocks noChangeShapeType="1"/>
          </p:cNvSpPr>
          <p:nvPr/>
        </p:nvSpPr>
        <p:spPr bwMode="auto">
          <a:xfrm flipH="1">
            <a:off x="5475817" y="1785938"/>
            <a:ext cx="1720" cy="27860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2" name="Line 18"/>
          <p:cNvSpPr>
            <a:spLocks noChangeShapeType="1"/>
          </p:cNvSpPr>
          <p:nvPr/>
        </p:nvSpPr>
        <p:spPr bwMode="auto">
          <a:xfrm>
            <a:off x="5953919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3" name="Line 19"/>
          <p:cNvSpPr>
            <a:spLocks noChangeShapeType="1"/>
          </p:cNvSpPr>
          <p:nvPr/>
        </p:nvSpPr>
        <p:spPr bwMode="auto">
          <a:xfrm>
            <a:off x="6194690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4" name="Line 20"/>
          <p:cNvSpPr>
            <a:spLocks noChangeShapeType="1"/>
          </p:cNvSpPr>
          <p:nvPr/>
        </p:nvSpPr>
        <p:spPr bwMode="auto">
          <a:xfrm flipH="1">
            <a:off x="1642401" y="3106738"/>
            <a:ext cx="48154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5" name="Line 21"/>
          <p:cNvSpPr>
            <a:spLocks noChangeShapeType="1"/>
          </p:cNvSpPr>
          <p:nvPr/>
        </p:nvSpPr>
        <p:spPr bwMode="auto">
          <a:xfrm>
            <a:off x="1166024" y="1785938"/>
            <a:ext cx="263128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6" name="Line 22"/>
          <p:cNvSpPr>
            <a:spLocks noChangeShapeType="1"/>
          </p:cNvSpPr>
          <p:nvPr/>
        </p:nvSpPr>
        <p:spPr bwMode="auto">
          <a:xfrm>
            <a:off x="1642402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7" name="Line 23"/>
          <p:cNvSpPr>
            <a:spLocks noChangeShapeType="1"/>
          </p:cNvSpPr>
          <p:nvPr/>
        </p:nvSpPr>
        <p:spPr bwMode="auto">
          <a:xfrm>
            <a:off x="1166019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8" name="Line 24"/>
          <p:cNvSpPr>
            <a:spLocks noChangeShapeType="1"/>
          </p:cNvSpPr>
          <p:nvPr/>
        </p:nvSpPr>
        <p:spPr bwMode="auto">
          <a:xfrm>
            <a:off x="6432021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29" name="Line 25"/>
          <p:cNvSpPr>
            <a:spLocks noChangeShapeType="1"/>
          </p:cNvSpPr>
          <p:nvPr/>
        </p:nvSpPr>
        <p:spPr bwMode="auto">
          <a:xfrm>
            <a:off x="2123943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0" name="Line 26"/>
          <p:cNvSpPr>
            <a:spLocks noChangeShapeType="1"/>
          </p:cNvSpPr>
          <p:nvPr/>
        </p:nvSpPr>
        <p:spPr bwMode="auto">
          <a:xfrm>
            <a:off x="2123948" y="2047875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1" name="Line 27"/>
          <p:cNvSpPr>
            <a:spLocks noChangeShapeType="1"/>
          </p:cNvSpPr>
          <p:nvPr/>
        </p:nvSpPr>
        <p:spPr bwMode="auto">
          <a:xfrm>
            <a:off x="2123948" y="2311400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2" name="Line 28"/>
          <p:cNvSpPr>
            <a:spLocks noChangeShapeType="1"/>
          </p:cNvSpPr>
          <p:nvPr/>
        </p:nvSpPr>
        <p:spPr bwMode="auto">
          <a:xfrm>
            <a:off x="2123948" y="2578100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3" name="Line 29"/>
          <p:cNvSpPr>
            <a:spLocks noChangeShapeType="1"/>
          </p:cNvSpPr>
          <p:nvPr/>
        </p:nvSpPr>
        <p:spPr bwMode="auto">
          <a:xfrm>
            <a:off x="2123948" y="2840038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4" name="Line 30"/>
          <p:cNvSpPr>
            <a:spLocks noChangeShapeType="1"/>
          </p:cNvSpPr>
          <p:nvPr/>
        </p:nvSpPr>
        <p:spPr bwMode="auto">
          <a:xfrm>
            <a:off x="2123948" y="3106738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5" name="Line 31"/>
          <p:cNvSpPr>
            <a:spLocks noChangeShapeType="1"/>
          </p:cNvSpPr>
          <p:nvPr/>
        </p:nvSpPr>
        <p:spPr bwMode="auto">
          <a:xfrm>
            <a:off x="2123948" y="3370263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6" name="Line 32"/>
          <p:cNvSpPr>
            <a:spLocks noChangeShapeType="1"/>
          </p:cNvSpPr>
          <p:nvPr/>
        </p:nvSpPr>
        <p:spPr bwMode="auto">
          <a:xfrm>
            <a:off x="2123948" y="3633788"/>
            <a:ext cx="167335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7" name="Line 33"/>
          <p:cNvSpPr>
            <a:spLocks noChangeShapeType="1"/>
          </p:cNvSpPr>
          <p:nvPr/>
        </p:nvSpPr>
        <p:spPr bwMode="auto">
          <a:xfrm>
            <a:off x="3799020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8" name="Line 34"/>
          <p:cNvSpPr>
            <a:spLocks noChangeShapeType="1"/>
          </p:cNvSpPr>
          <p:nvPr/>
        </p:nvSpPr>
        <p:spPr bwMode="auto">
          <a:xfrm>
            <a:off x="1166019" y="3898900"/>
            <a:ext cx="454885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39" name="Line 35"/>
          <p:cNvSpPr>
            <a:spLocks noChangeShapeType="1"/>
          </p:cNvSpPr>
          <p:nvPr/>
        </p:nvSpPr>
        <p:spPr bwMode="auto">
          <a:xfrm>
            <a:off x="5714868" y="1785938"/>
            <a:ext cx="0" cy="21129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40" name="Line 36"/>
          <p:cNvSpPr>
            <a:spLocks noChangeShapeType="1"/>
          </p:cNvSpPr>
          <p:nvPr/>
        </p:nvSpPr>
        <p:spPr bwMode="auto">
          <a:xfrm>
            <a:off x="3799020" y="1785938"/>
            <a:ext cx="263300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41" name="Rectangle 37"/>
          <p:cNvSpPr>
            <a:spLocks noChangeArrowheads="1"/>
          </p:cNvSpPr>
          <p:nvPr/>
        </p:nvSpPr>
        <p:spPr bwMode="auto">
          <a:xfrm rot="16200000">
            <a:off x="438948" y="2559661"/>
            <a:ext cx="1928813" cy="511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8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</a:t>
            </a:r>
          </a:p>
        </p:txBody>
      </p:sp>
      <p:sp>
        <p:nvSpPr>
          <p:cNvPr id="47142" name="Line 38"/>
          <p:cNvSpPr>
            <a:spLocks noChangeShapeType="1"/>
          </p:cNvSpPr>
          <p:nvPr/>
        </p:nvSpPr>
        <p:spPr bwMode="auto">
          <a:xfrm>
            <a:off x="5714868" y="3898909"/>
            <a:ext cx="0" cy="23780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43" name="Line 39"/>
          <p:cNvSpPr>
            <a:spLocks noChangeShapeType="1"/>
          </p:cNvSpPr>
          <p:nvPr/>
        </p:nvSpPr>
        <p:spPr bwMode="auto">
          <a:xfrm>
            <a:off x="5714873" y="6276975"/>
            <a:ext cx="71715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44" name="Rectangle 40"/>
          <p:cNvSpPr>
            <a:spLocks noChangeArrowheads="1"/>
          </p:cNvSpPr>
          <p:nvPr/>
        </p:nvSpPr>
        <p:spPr bwMode="auto">
          <a:xfrm rot="16200000">
            <a:off x="5401878" y="5294685"/>
            <a:ext cx="1393010" cy="646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</a:t>
            </a:r>
          </a:p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47145" name="Rectangle 41"/>
          <p:cNvSpPr>
            <a:spLocks noChangeArrowheads="1"/>
          </p:cNvSpPr>
          <p:nvPr/>
        </p:nvSpPr>
        <p:spPr bwMode="auto">
          <a:xfrm rot="16200000">
            <a:off x="5808934" y="4220329"/>
            <a:ext cx="504946" cy="771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sp>
        <p:nvSpPr>
          <p:cNvPr id="47146" name="Line 42"/>
          <p:cNvSpPr>
            <a:spLocks noChangeShapeType="1"/>
          </p:cNvSpPr>
          <p:nvPr/>
        </p:nvSpPr>
        <p:spPr bwMode="auto">
          <a:xfrm>
            <a:off x="5953919" y="3898909"/>
            <a:ext cx="0" cy="10572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47" name="Line 43"/>
          <p:cNvSpPr>
            <a:spLocks noChangeShapeType="1"/>
          </p:cNvSpPr>
          <p:nvPr/>
        </p:nvSpPr>
        <p:spPr bwMode="auto">
          <a:xfrm>
            <a:off x="6191250" y="3898909"/>
            <a:ext cx="0" cy="10572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48" name="Line 44"/>
          <p:cNvSpPr>
            <a:spLocks noChangeShapeType="1"/>
          </p:cNvSpPr>
          <p:nvPr/>
        </p:nvSpPr>
        <p:spPr bwMode="auto">
          <a:xfrm>
            <a:off x="6432021" y="3898909"/>
            <a:ext cx="0" cy="23780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49" name="Line 45"/>
          <p:cNvSpPr>
            <a:spLocks noChangeShapeType="1"/>
          </p:cNvSpPr>
          <p:nvPr/>
        </p:nvSpPr>
        <p:spPr bwMode="auto">
          <a:xfrm>
            <a:off x="5714873" y="4956175"/>
            <a:ext cx="71715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50" name="Line 46"/>
          <p:cNvSpPr>
            <a:spLocks noChangeShapeType="1"/>
          </p:cNvSpPr>
          <p:nvPr/>
        </p:nvSpPr>
        <p:spPr bwMode="auto">
          <a:xfrm flipH="1">
            <a:off x="4275402" y="1785947"/>
            <a:ext cx="1720" cy="27955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47171" name="Group 67"/>
          <p:cNvGrpSpPr>
            <a:grpSpLocks/>
          </p:cNvGrpSpPr>
          <p:nvPr/>
        </p:nvGrpSpPr>
        <p:grpSpPr bwMode="auto">
          <a:xfrm>
            <a:off x="3852333" y="1847850"/>
            <a:ext cx="1802342" cy="1716088"/>
            <a:chOff x="2240" y="1164"/>
            <a:chExt cx="1048" cy="1081"/>
          </a:xfrm>
        </p:grpSpPr>
        <p:sp>
          <p:nvSpPr>
            <p:cNvPr id="47151" name="Oval 47"/>
            <p:cNvSpPr>
              <a:spLocks noChangeArrowheads="1"/>
            </p:cNvSpPr>
            <p:nvPr/>
          </p:nvSpPr>
          <p:spPr bwMode="auto">
            <a:xfrm>
              <a:off x="2248" y="1669"/>
              <a:ext cx="60" cy="7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52" name="Oval 48"/>
            <p:cNvSpPr>
              <a:spLocks noChangeArrowheads="1"/>
            </p:cNvSpPr>
            <p:nvPr/>
          </p:nvSpPr>
          <p:spPr bwMode="auto">
            <a:xfrm>
              <a:off x="2265" y="1690"/>
              <a:ext cx="26" cy="3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53" name="Oval 49"/>
            <p:cNvSpPr>
              <a:spLocks noChangeArrowheads="1"/>
            </p:cNvSpPr>
            <p:nvPr/>
          </p:nvSpPr>
          <p:spPr bwMode="auto">
            <a:xfrm>
              <a:off x="2391" y="1336"/>
              <a:ext cx="60" cy="77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54" name="AutoShape 50"/>
            <p:cNvSpPr>
              <a:spLocks noChangeArrowheads="1"/>
            </p:cNvSpPr>
            <p:nvPr/>
          </p:nvSpPr>
          <p:spPr bwMode="auto">
            <a:xfrm>
              <a:off x="2939" y="1330"/>
              <a:ext cx="60" cy="77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55" name="Oval 51"/>
            <p:cNvSpPr>
              <a:spLocks noChangeArrowheads="1"/>
            </p:cNvSpPr>
            <p:nvPr/>
          </p:nvSpPr>
          <p:spPr bwMode="auto">
            <a:xfrm>
              <a:off x="2664" y="1170"/>
              <a:ext cx="63" cy="7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56" name="Oval 52"/>
            <p:cNvSpPr>
              <a:spLocks noChangeArrowheads="1"/>
            </p:cNvSpPr>
            <p:nvPr/>
          </p:nvSpPr>
          <p:spPr bwMode="auto">
            <a:xfrm>
              <a:off x="2682" y="1191"/>
              <a:ext cx="27" cy="3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57" name="Oval 53"/>
            <p:cNvSpPr>
              <a:spLocks noChangeArrowheads="1"/>
            </p:cNvSpPr>
            <p:nvPr/>
          </p:nvSpPr>
          <p:spPr bwMode="auto">
            <a:xfrm>
              <a:off x="2803" y="1669"/>
              <a:ext cx="63" cy="7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58" name="Oval 54"/>
            <p:cNvSpPr>
              <a:spLocks noChangeArrowheads="1"/>
            </p:cNvSpPr>
            <p:nvPr/>
          </p:nvSpPr>
          <p:spPr bwMode="auto">
            <a:xfrm>
              <a:off x="2821" y="1690"/>
              <a:ext cx="27" cy="3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59" name="Oval 55"/>
            <p:cNvSpPr>
              <a:spLocks noChangeArrowheads="1"/>
            </p:cNvSpPr>
            <p:nvPr/>
          </p:nvSpPr>
          <p:spPr bwMode="auto">
            <a:xfrm>
              <a:off x="2525" y="1835"/>
              <a:ext cx="63" cy="7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0" name="Oval 56"/>
            <p:cNvSpPr>
              <a:spLocks noChangeArrowheads="1"/>
            </p:cNvSpPr>
            <p:nvPr/>
          </p:nvSpPr>
          <p:spPr bwMode="auto">
            <a:xfrm>
              <a:off x="2543" y="1856"/>
              <a:ext cx="26" cy="3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1" name="Oval 57"/>
            <p:cNvSpPr>
              <a:spLocks noChangeArrowheads="1"/>
            </p:cNvSpPr>
            <p:nvPr/>
          </p:nvSpPr>
          <p:spPr bwMode="auto">
            <a:xfrm>
              <a:off x="3222" y="2169"/>
              <a:ext cx="62" cy="7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2" name="Oval 58"/>
            <p:cNvSpPr>
              <a:spLocks noChangeArrowheads="1"/>
            </p:cNvSpPr>
            <p:nvPr/>
          </p:nvSpPr>
          <p:spPr bwMode="auto">
            <a:xfrm>
              <a:off x="3239" y="2189"/>
              <a:ext cx="28" cy="3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3" name="Oval 59"/>
            <p:cNvSpPr>
              <a:spLocks noChangeArrowheads="1"/>
            </p:cNvSpPr>
            <p:nvPr/>
          </p:nvSpPr>
          <p:spPr bwMode="auto">
            <a:xfrm>
              <a:off x="2669" y="1670"/>
              <a:ext cx="62" cy="7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4" name="Oval 60"/>
            <p:cNvSpPr>
              <a:spLocks noChangeArrowheads="1"/>
            </p:cNvSpPr>
            <p:nvPr/>
          </p:nvSpPr>
          <p:spPr bwMode="auto">
            <a:xfrm>
              <a:off x="3226" y="1837"/>
              <a:ext cx="62" cy="7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5" name="Oval 61"/>
            <p:cNvSpPr>
              <a:spLocks noChangeArrowheads="1"/>
            </p:cNvSpPr>
            <p:nvPr/>
          </p:nvSpPr>
          <p:spPr bwMode="auto">
            <a:xfrm>
              <a:off x="2530" y="2171"/>
              <a:ext cx="62" cy="7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6" name="Oval 62"/>
            <p:cNvSpPr>
              <a:spLocks noChangeArrowheads="1"/>
            </p:cNvSpPr>
            <p:nvPr/>
          </p:nvSpPr>
          <p:spPr bwMode="auto">
            <a:xfrm>
              <a:off x="3087" y="2171"/>
              <a:ext cx="63" cy="7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7" name="AutoShape 63"/>
            <p:cNvSpPr>
              <a:spLocks noChangeArrowheads="1"/>
            </p:cNvSpPr>
            <p:nvPr/>
          </p:nvSpPr>
          <p:spPr bwMode="auto">
            <a:xfrm>
              <a:off x="2240" y="1164"/>
              <a:ext cx="63" cy="75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8" name="AutoShape 64"/>
            <p:cNvSpPr>
              <a:spLocks noChangeArrowheads="1"/>
            </p:cNvSpPr>
            <p:nvPr/>
          </p:nvSpPr>
          <p:spPr bwMode="auto">
            <a:xfrm>
              <a:off x="3216" y="1664"/>
              <a:ext cx="63" cy="7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69" name="AutoShape 65"/>
            <p:cNvSpPr>
              <a:spLocks noChangeArrowheads="1"/>
            </p:cNvSpPr>
            <p:nvPr/>
          </p:nvSpPr>
          <p:spPr bwMode="auto">
            <a:xfrm>
              <a:off x="3077" y="1829"/>
              <a:ext cx="61" cy="77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70" name="AutoShape 66"/>
            <p:cNvSpPr>
              <a:spLocks noChangeArrowheads="1"/>
            </p:cNvSpPr>
            <p:nvPr/>
          </p:nvSpPr>
          <p:spPr bwMode="auto">
            <a:xfrm>
              <a:off x="2381" y="1997"/>
              <a:ext cx="60" cy="7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sp>
        <p:nvSpPr>
          <p:cNvPr id="47172" name="Line 68"/>
          <p:cNvSpPr>
            <a:spLocks noChangeShapeType="1"/>
          </p:cNvSpPr>
          <p:nvPr/>
        </p:nvSpPr>
        <p:spPr bwMode="auto">
          <a:xfrm>
            <a:off x="5714873" y="3898900"/>
            <a:ext cx="71715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73" name="Rectangle 69"/>
          <p:cNvSpPr>
            <a:spLocks noChangeArrowheads="1"/>
          </p:cNvSpPr>
          <p:nvPr/>
        </p:nvSpPr>
        <p:spPr bwMode="auto">
          <a:xfrm>
            <a:off x="5695952" y="1771659"/>
            <a:ext cx="275167" cy="215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  <a:p>
            <a:pPr algn="ctr" eaLnBrk="0" latinLnBrk="0" hangingPunct="0">
              <a:lnSpc>
                <a:spcPct val="92000"/>
              </a:lnSpc>
              <a:spcBef>
                <a:spcPct val="15000"/>
              </a:spcBef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</p:txBody>
      </p:sp>
      <p:grpSp>
        <p:nvGrpSpPr>
          <p:cNvPr id="47187" name="Group 83"/>
          <p:cNvGrpSpPr>
            <a:grpSpLocks/>
          </p:cNvGrpSpPr>
          <p:nvPr/>
        </p:nvGrpSpPr>
        <p:grpSpPr bwMode="auto">
          <a:xfrm>
            <a:off x="6481900" y="2149475"/>
            <a:ext cx="3035432" cy="2192338"/>
            <a:chOff x="3769" y="1354"/>
            <a:chExt cx="1765" cy="1381"/>
          </a:xfrm>
        </p:grpSpPr>
        <p:sp>
          <p:nvSpPr>
            <p:cNvPr id="47174" name="Rectangle 70"/>
            <p:cNvSpPr>
              <a:spLocks noChangeArrowheads="1"/>
            </p:cNvSpPr>
            <p:nvPr/>
          </p:nvSpPr>
          <p:spPr bwMode="auto">
            <a:xfrm>
              <a:off x="3769" y="1354"/>
              <a:ext cx="1765" cy="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Relationship between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Customer Requirements and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Technical Descriptors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HATs vs. HOWs</a:t>
              </a:r>
            </a:p>
          </p:txBody>
        </p:sp>
        <p:sp>
          <p:nvSpPr>
            <p:cNvPr id="47175" name="Rectangle 71"/>
            <p:cNvSpPr>
              <a:spLocks noChangeArrowheads="1"/>
            </p:cNvSpPr>
            <p:nvPr/>
          </p:nvSpPr>
          <p:spPr bwMode="auto">
            <a:xfrm>
              <a:off x="4587" y="2249"/>
              <a:ext cx="444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</a:t>
              </a:r>
            </a:p>
          </p:txBody>
        </p:sp>
        <p:sp>
          <p:nvSpPr>
            <p:cNvPr id="47176" name="Rectangle 72"/>
            <p:cNvSpPr>
              <a:spLocks noChangeArrowheads="1"/>
            </p:cNvSpPr>
            <p:nvPr/>
          </p:nvSpPr>
          <p:spPr bwMode="auto">
            <a:xfrm>
              <a:off x="4585" y="2392"/>
              <a:ext cx="501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Medium</a:t>
              </a:r>
            </a:p>
          </p:txBody>
        </p:sp>
        <p:sp>
          <p:nvSpPr>
            <p:cNvPr id="47177" name="Rectangle 73"/>
            <p:cNvSpPr>
              <a:spLocks noChangeArrowheads="1"/>
            </p:cNvSpPr>
            <p:nvPr/>
          </p:nvSpPr>
          <p:spPr bwMode="auto">
            <a:xfrm>
              <a:off x="4585" y="2544"/>
              <a:ext cx="378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eak</a:t>
              </a:r>
            </a:p>
          </p:txBody>
        </p:sp>
        <p:sp>
          <p:nvSpPr>
            <p:cNvPr id="47178" name="Oval 74"/>
            <p:cNvSpPr>
              <a:spLocks noChangeArrowheads="1"/>
            </p:cNvSpPr>
            <p:nvPr/>
          </p:nvSpPr>
          <p:spPr bwMode="auto">
            <a:xfrm>
              <a:off x="4509" y="2410"/>
              <a:ext cx="60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47181" name="Group 77"/>
            <p:cNvGrpSpPr>
              <a:grpSpLocks/>
            </p:cNvGrpSpPr>
            <p:nvPr/>
          </p:nvGrpSpPr>
          <p:grpSpPr bwMode="auto">
            <a:xfrm>
              <a:off x="4505" y="2265"/>
              <a:ext cx="60" cy="64"/>
              <a:chOff x="4505" y="2265"/>
              <a:chExt cx="60" cy="64"/>
            </a:xfrm>
          </p:grpSpPr>
          <p:sp>
            <p:nvSpPr>
              <p:cNvPr id="47179" name="Oval 75"/>
              <p:cNvSpPr>
                <a:spLocks noChangeArrowheads="1"/>
              </p:cNvSpPr>
              <p:nvPr/>
            </p:nvSpPr>
            <p:spPr bwMode="auto">
              <a:xfrm>
                <a:off x="4505" y="2265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47180" name="Oval 76"/>
              <p:cNvSpPr>
                <a:spLocks noChangeArrowheads="1"/>
              </p:cNvSpPr>
              <p:nvPr/>
            </p:nvSpPr>
            <p:spPr bwMode="auto">
              <a:xfrm>
                <a:off x="4522" y="2283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47182" name="Rectangle 78"/>
            <p:cNvSpPr>
              <a:spLocks noChangeArrowheads="1"/>
            </p:cNvSpPr>
            <p:nvPr/>
          </p:nvSpPr>
          <p:spPr bwMode="auto">
            <a:xfrm>
              <a:off x="4249" y="2249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47183" name="Rectangle 79"/>
            <p:cNvSpPr>
              <a:spLocks noChangeArrowheads="1"/>
            </p:cNvSpPr>
            <p:nvPr/>
          </p:nvSpPr>
          <p:spPr bwMode="auto">
            <a:xfrm>
              <a:off x="4249" y="2392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47184" name="Rectangle 80"/>
            <p:cNvSpPr>
              <a:spLocks noChangeArrowheads="1"/>
            </p:cNvSpPr>
            <p:nvPr/>
          </p:nvSpPr>
          <p:spPr bwMode="auto">
            <a:xfrm>
              <a:off x="4243" y="2214"/>
              <a:ext cx="803" cy="521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47185" name="Rectangle 81"/>
            <p:cNvSpPr>
              <a:spLocks noChangeArrowheads="1"/>
            </p:cNvSpPr>
            <p:nvPr/>
          </p:nvSpPr>
          <p:spPr bwMode="auto">
            <a:xfrm>
              <a:off x="4249" y="2544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1</a:t>
              </a:r>
            </a:p>
          </p:txBody>
        </p:sp>
        <p:sp>
          <p:nvSpPr>
            <p:cNvPr id="47186" name="AutoShape 82"/>
            <p:cNvSpPr>
              <a:spLocks noChangeArrowheads="1"/>
            </p:cNvSpPr>
            <p:nvPr/>
          </p:nvSpPr>
          <p:spPr bwMode="auto">
            <a:xfrm>
              <a:off x="4512" y="2560"/>
              <a:ext cx="60" cy="6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sp>
        <p:nvSpPr>
          <p:cNvPr id="47188" name="Line 84"/>
          <p:cNvSpPr>
            <a:spLocks noChangeShapeType="1"/>
          </p:cNvSpPr>
          <p:nvPr/>
        </p:nvSpPr>
        <p:spPr bwMode="auto">
          <a:xfrm flipH="1">
            <a:off x="3797300" y="4114800"/>
            <a:ext cx="189865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89" name="Rectangle 85"/>
          <p:cNvSpPr>
            <a:spLocks noChangeArrowheads="1"/>
          </p:cNvSpPr>
          <p:nvPr/>
        </p:nvSpPr>
        <p:spPr bwMode="auto">
          <a:xfrm>
            <a:off x="1405085" y="3946534"/>
            <a:ext cx="1393010" cy="6469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</a:t>
            </a:r>
          </a:p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75000"/>
              </a:lnSpc>
            </a:pPr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47190" name="Rectangle 86"/>
          <p:cNvSpPr>
            <a:spLocks noChangeArrowheads="1"/>
          </p:cNvSpPr>
          <p:nvPr/>
        </p:nvSpPr>
        <p:spPr bwMode="auto">
          <a:xfrm>
            <a:off x="2834217" y="3870333"/>
            <a:ext cx="504946" cy="771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sz="1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sp>
        <p:nvSpPr>
          <p:cNvPr id="47191" name="Line 87"/>
          <p:cNvSpPr>
            <a:spLocks noChangeShapeType="1"/>
          </p:cNvSpPr>
          <p:nvPr/>
        </p:nvSpPr>
        <p:spPr bwMode="auto">
          <a:xfrm flipH="1">
            <a:off x="3797300" y="4343400"/>
            <a:ext cx="189865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92" name="Line 88"/>
          <p:cNvSpPr>
            <a:spLocks noChangeShapeType="1"/>
          </p:cNvSpPr>
          <p:nvPr/>
        </p:nvSpPr>
        <p:spPr bwMode="auto">
          <a:xfrm flipH="1">
            <a:off x="3797300" y="4572000"/>
            <a:ext cx="189865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93" name="Line 89"/>
          <p:cNvSpPr>
            <a:spLocks noChangeShapeType="1"/>
          </p:cNvSpPr>
          <p:nvPr/>
        </p:nvSpPr>
        <p:spPr bwMode="auto">
          <a:xfrm flipH="1">
            <a:off x="2806700" y="4114800"/>
            <a:ext cx="9906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94" name="Line 90"/>
          <p:cNvSpPr>
            <a:spLocks noChangeShapeType="1"/>
          </p:cNvSpPr>
          <p:nvPr/>
        </p:nvSpPr>
        <p:spPr bwMode="auto">
          <a:xfrm flipH="1">
            <a:off x="3797300" y="3919538"/>
            <a:ext cx="1720" cy="6524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95" name="Line 91"/>
          <p:cNvSpPr>
            <a:spLocks noChangeShapeType="1"/>
          </p:cNvSpPr>
          <p:nvPr/>
        </p:nvSpPr>
        <p:spPr bwMode="auto">
          <a:xfrm flipH="1">
            <a:off x="2806700" y="3919538"/>
            <a:ext cx="1720" cy="6524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96" name="Line 92"/>
          <p:cNvSpPr>
            <a:spLocks noChangeShapeType="1"/>
          </p:cNvSpPr>
          <p:nvPr/>
        </p:nvSpPr>
        <p:spPr bwMode="auto">
          <a:xfrm flipH="1">
            <a:off x="1403350" y="3919538"/>
            <a:ext cx="1720" cy="6524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97" name="Line 93"/>
          <p:cNvSpPr>
            <a:spLocks noChangeShapeType="1"/>
          </p:cNvSpPr>
          <p:nvPr/>
        </p:nvSpPr>
        <p:spPr bwMode="auto">
          <a:xfrm flipH="1">
            <a:off x="2806700" y="4343400"/>
            <a:ext cx="9906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98" name="Line 94"/>
          <p:cNvSpPr>
            <a:spLocks noChangeShapeType="1"/>
          </p:cNvSpPr>
          <p:nvPr/>
        </p:nvSpPr>
        <p:spPr bwMode="auto">
          <a:xfrm flipH="1">
            <a:off x="2806700" y="4572000"/>
            <a:ext cx="9906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47199" name="Line 95"/>
          <p:cNvSpPr>
            <a:spLocks noChangeShapeType="1"/>
          </p:cNvSpPr>
          <p:nvPr/>
        </p:nvSpPr>
        <p:spPr bwMode="auto">
          <a:xfrm flipH="1">
            <a:off x="1403350" y="4572000"/>
            <a:ext cx="140335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81929387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42060" y="260656"/>
            <a:ext cx="9635480" cy="307777"/>
          </a:xfrm>
        </p:spPr>
        <p:txBody>
          <a:bodyPr/>
          <a:lstStyle/>
          <a:p>
            <a:pPr lvl="0"/>
            <a:r>
              <a:rPr kumimoji="1" lang="en-US" altLang="ko-KR" dirty="0" smtClean="0">
                <a:solidFill>
                  <a:srgbClr val="202A38"/>
                </a:solidFill>
              </a:rPr>
              <a:t>Stage-Gate </a:t>
            </a:r>
            <a:r>
              <a:rPr kumimoji="1" lang="en-US" altLang="ko-KR" dirty="0" smtClean="0">
                <a:solidFill>
                  <a:srgbClr val="202A38"/>
                </a:solidFill>
              </a:rPr>
              <a:t>Process (1/4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202A38"/>
                </a:solidFill>
              </a:rPr>
              <a:t>Stage-Gate Process</a:t>
            </a:r>
          </a:p>
          <a:p>
            <a:pPr lvl="1"/>
            <a:r>
              <a:rPr lang="en-US" altLang="ko-KR" dirty="0"/>
              <a:t>Introduced by Robert G. Copper in 1990</a:t>
            </a:r>
          </a:p>
          <a:p>
            <a:pPr lvl="1"/>
            <a:r>
              <a:rPr lang="en-US" altLang="ko-KR" dirty="0" smtClean="0"/>
              <a:t>Conceptual </a:t>
            </a:r>
            <a:r>
              <a:rPr lang="en-US" altLang="ko-KR" dirty="0"/>
              <a:t>and operational road map for moving a new-product project from idea to </a:t>
            </a:r>
            <a:r>
              <a:rPr lang="en-US" altLang="ko-KR" dirty="0" smtClean="0"/>
              <a:t>launch</a:t>
            </a:r>
          </a:p>
          <a:p>
            <a:pPr lvl="1"/>
            <a:r>
              <a:rPr lang="en-US" altLang="ko-KR" dirty="0" smtClean="0"/>
              <a:t>Blueprint </a:t>
            </a:r>
            <a:r>
              <a:rPr lang="en-US" altLang="ko-KR" dirty="0"/>
              <a:t>for managing the new-product process to improve effectiveness and </a:t>
            </a:r>
            <a:r>
              <a:rPr lang="en-US" altLang="ko-KR" dirty="0" smtClean="0"/>
              <a:t>efficiency</a:t>
            </a:r>
          </a:p>
          <a:p>
            <a:endParaRPr lang="en-US" altLang="ko-KR" dirty="0" smtClean="0"/>
          </a:p>
          <a:p>
            <a:r>
              <a:rPr lang="en-US" altLang="ko-KR" dirty="0" smtClean="0"/>
              <a:t>Generic flow of the </a:t>
            </a:r>
            <a:r>
              <a:rPr lang="en-US" altLang="ko-KR" dirty="0" smtClean="0">
                <a:solidFill>
                  <a:srgbClr val="202A38"/>
                </a:solidFill>
              </a:rPr>
              <a:t>Stage-Gate Process</a:t>
            </a:r>
          </a:p>
          <a:p>
            <a:endParaRPr lang="en-US" altLang="ko-KR" dirty="0">
              <a:solidFill>
                <a:srgbClr val="202A38"/>
              </a:solidFill>
            </a:endParaRPr>
          </a:p>
          <a:p>
            <a:endParaRPr lang="en-US" altLang="ko-KR" dirty="0" smtClean="0">
              <a:solidFill>
                <a:srgbClr val="202A38"/>
              </a:solidFill>
            </a:endParaRPr>
          </a:p>
          <a:p>
            <a:endParaRPr lang="en-US" altLang="ko-KR" dirty="0">
              <a:solidFill>
                <a:srgbClr val="202A38"/>
              </a:solidFill>
            </a:endParaRPr>
          </a:p>
          <a:p>
            <a:endParaRPr lang="en-US" altLang="ko-KR" dirty="0" smtClean="0">
              <a:solidFill>
                <a:srgbClr val="202A38"/>
              </a:solidFill>
            </a:endParaRPr>
          </a:p>
          <a:p>
            <a:endParaRPr lang="en-US" altLang="ko-KR" dirty="0">
              <a:solidFill>
                <a:srgbClr val="202A38"/>
              </a:solidFill>
            </a:endParaRPr>
          </a:p>
          <a:p>
            <a:pPr lvl="1"/>
            <a:endParaRPr lang="en-US" altLang="ko-KR" dirty="0" smtClean="0">
              <a:solidFill>
                <a:srgbClr val="202A38"/>
              </a:solidFill>
            </a:endParaRPr>
          </a:p>
          <a:p>
            <a:pPr lvl="1"/>
            <a:r>
              <a:rPr lang="en-US" altLang="ko-KR" dirty="0" smtClean="0">
                <a:solidFill>
                  <a:srgbClr val="202A38"/>
                </a:solidFill>
              </a:rPr>
              <a:t>Stages</a:t>
            </a:r>
            <a:endParaRPr lang="en-US" altLang="ko-KR" dirty="0" smtClean="0">
              <a:solidFill>
                <a:srgbClr val="202A38"/>
              </a:solidFill>
            </a:endParaRPr>
          </a:p>
          <a:p>
            <a:pPr lvl="2"/>
            <a:r>
              <a:rPr lang="en-US" altLang="ko-KR" dirty="0"/>
              <a:t>Stages are where </a:t>
            </a:r>
            <a:r>
              <a:rPr lang="en-US" altLang="ko-KR" dirty="0" smtClean="0"/>
              <a:t>cross-functional action occurs: </a:t>
            </a:r>
            <a:r>
              <a:rPr lang="en-US" altLang="ko-KR" dirty="0"/>
              <a:t>There is no R&amp;D or marketing </a:t>
            </a:r>
            <a:r>
              <a:rPr lang="en-US" altLang="ko-KR" dirty="0" smtClean="0"/>
              <a:t>stage</a:t>
            </a:r>
          </a:p>
          <a:p>
            <a:pPr lvl="2"/>
            <a:r>
              <a:rPr lang="en-US" altLang="ko-KR" dirty="0" smtClean="0"/>
              <a:t>Each </a:t>
            </a:r>
            <a:r>
              <a:rPr lang="en-US" altLang="ko-KR" dirty="0"/>
              <a:t>stage consists of a set of parallel activities undertaken by people from different functional areas in the firm, working together as a team and led by a project team </a:t>
            </a:r>
            <a:r>
              <a:rPr lang="en-US" altLang="ko-KR" dirty="0" smtClean="0"/>
              <a:t>leader</a:t>
            </a:r>
          </a:p>
          <a:p>
            <a:pPr lvl="1"/>
            <a:r>
              <a:rPr lang="en-US" altLang="ko-KR" dirty="0" smtClean="0"/>
              <a:t>Gates</a:t>
            </a:r>
          </a:p>
          <a:p>
            <a:pPr lvl="2"/>
            <a:r>
              <a:rPr lang="en-US" altLang="ko-KR" dirty="0"/>
              <a:t>At the entrance to each stage is a gate, which serves as the quality control and Go/Kill check point in the process</a:t>
            </a:r>
            <a:endParaRPr lang="en-US" altLang="ko-KR" dirty="0" smtClean="0"/>
          </a:p>
          <a:p>
            <a:endParaRPr lang="ko-KR" altLang="en-US" dirty="0"/>
          </a:p>
        </p:txBody>
      </p:sp>
      <p:sp>
        <p:nvSpPr>
          <p:cNvPr id="4" name="직사각형 3"/>
          <p:cNvSpPr/>
          <p:nvPr/>
        </p:nvSpPr>
        <p:spPr>
          <a:xfrm>
            <a:off x="633482" y="2703116"/>
            <a:ext cx="8640000" cy="1697995"/>
          </a:xfrm>
          <a:prstGeom prst="rect">
            <a:avLst/>
          </a:prstGeom>
          <a:noFill/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rtlCol="0" anchor="ctr">
            <a:noAutofit/>
          </a:bodyPr>
          <a:lstStyle/>
          <a:p>
            <a:pPr algn="ctr"/>
            <a:endParaRPr lang="ko-KR" altLang="en-US" kern="0" dirty="0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그룹 4"/>
          <p:cNvGrpSpPr/>
          <p:nvPr/>
        </p:nvGrpSpPr>
        <p:grpSpPr>
          <a:xfrm>
            <a:off x="823210" y="2712638"/>
            <a:ext cx="8398040" cy="1624246"/>
            <a:chOff x="441730" y="980728"/>
            <a:chExt cx="8398040" cy="1624246"/>
          </a:xfrm>
        </p:grpSpPr>
        <p:sp>
          <p:nvSpPr>
            <p:cNvPr id="6" name="타원 5"/>
            <p:cNvSpPr/>
            <p:nvPr/>
          </p:nvSpPr>
          <p:spPr>
            <a:xfrm>
              <a:off x="441730" y="1412856"/>
              <a:ext cx="720000" cy="720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Idea</a:t>
              </a:r>
              <a:endParaRPr lang="ko-KR" altLang="en-US" sz="10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" name="다이아몬드 6"/>
            <p:cNvSpPr/>
            <p:nvPr/>
          </p:nvSpPr>
          <p:spPr>
            <a:xfrm>
              <a:off x="1194124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1000" b="1" kern="0" dirty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ko-KR" altLang="en-US" sz="10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" name="직사각형 7"/>
            <p:cNvSpPr/>
            <p:nvPr/>
          </p:nvSpPr>
          <p:spPr>
            <a:xfrm>
              <a:off x="1178325" y="980728"/>
              <a:ext cx="679599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Idea Screen</a:t>
              </a:r>
              <a:endParaRPr lang="ko-KR" altLang="en-US" sz="1000" b="1" kern="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9" name="모서리가 둥근 직사각형 8"/>
            <p:cNvSpPr/>
            <p:nvPr/>
          </p:nvSpPr>
          <p:spPr>
            <a:xfrm>
              <a:off x="1874519" y="1412856"/>
              <a:ext cx="648000" cy="720000"/>
            </a:xfrm>
            <a:prstGeom prst="roundRect">
              <a:avLst/>
            </a:prstGeom>
            <a:solidFill>
              <a:schemeClr val="tx2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1</a:t>
              </a:r>
              <a:endParaRPr lang="ko-KR" altLang="en-US" sz="10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0" name="다이아몬드 9"/>
            <p:cNvSpPr/>
            <p:nvPr/>
          </p:nvSpPr>
          <p:spPr>
            <a:xfrm>
              <a:off x="2554913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ko-KR" altLang="en-US" sz="10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1" name="직사각형 10"/>
            <p:cNvSpPr/>
            <p:nvPr/>
          </p:nvSpPr>
          <p:spPr>
            <a:xfrm>
              <a:off x="2539114" y="980728"/>
              <a:ext cx="679599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econd</a:t>
              </a: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creen</a:t>
              </a:r>
              <a:endParaRPr lang="ko-KR" altLang="en-US" sz="1000" b="1" kern="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2" name="모서리가 둥근 직사각형 11"/>
            <p:cNvSpPr/>
            <p:nvPr/>
          </p:nvSpPr>
          <p:spPr>
            <a:xfrm>
              <a:off x="3235308" y="1412856"/>
              <a:ext cx="648000" cy="720000"/>
            </a:xfrm>
            <a:prstGeom prst="roundRect">
              <a:avLst/>
            </a:prstGeom>
            <a:solidFill>
              <a:schemeClr val="accent2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</a:t>
              </a:r>
              <a:r>
                <a:rPr lang="en-US" altLang="ko-KR" sz="1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ko-KR" altLang="en-US" sz="10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" name="다이아몬드 12"/>
            <p:cNvSpPr/>
            <p:nvPr/>
          </p:nvSpPr>
          <p:spPr>
            <a:xfrm>
              <a:off x="3915702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rgbClr val="92D05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ko-KR" altLang="en-US" sz="10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4" name="직사각형 13"/>
            <p:cNvSpPr/>
            <p:nvPr/>
          </p:nvSpPr>
          <p:spPr>
            <a:xfrm>
              <a:off x="3787429" y="980728"/>
              <a:ext cx="904546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</a:t>
              </a: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o Develop</a:t>
              </a:r>
              <a:endParaRPr lang="en-US" altLang="ko-KR" sz="10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모서리가 둥근 직사각형 14"/>
            <p:cNvSpPr/>
            <p:nvPr/>
          </p:nvSpPr>
          <p:spPr>
            <a:xfrm>
              <a:off x="4596097" y="1412856"/>
              <a:ext cx="648000" cy="720000"/>
            </a:xfrm>
            <a:prstGeom prst="roundRect">
              <a:avLst/>
            </a:prstGeom>
            <a:solidFill>
              <a:srgbClr val="92D050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3</a:t>
              </a:r>
              <a:endParaRPr lang="ko-KR" altLang="en-US" sz="10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6" name="다이아몬드 15"/>
            <p:cNvSpPr/>
            <p:nvPr/>
          </p:nvSpPr>
          <p:spPr>
            <a:xfrm>
              <a:off x="5276491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ko-KR" altLang="en-US" sz="10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7" name="직사각형 16"/>
            <p:cNvSpPr/>
            <p:nvPr/>
          </p:nvSpPr>
          <p:spPr>
            <a:xfrm>
              <a:off x="5226713" y="980728"/>
              <a:ext cx="747558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 to Test</a:t>
              </a:r>
              <a:endParaRPr lang="en-US" altLang="ko-KR" sz="10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8" name="모서리가 둥근 직사각형 17"/>
            <p:cNvSpPr/>
            <p:nvPr/>
          </p:nvSpPr>
          <p:spPr>
            <a:xfrm>
              <a:off x="5956886" y="1412856"/>
              <a:ext cx="648000" cy="720000"/>
            </a:xfrm>
            <a:prstGeom prst="roundRect">
              <a:avLst/>
            </a:prstGeom>
            <a:solidFill>
              <a:schemeClr val="tx1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4</a:t>
              </a:r>
              <a:endParaRPr lang="ko-KR" altLang="en-US" sz="10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9" name="다이아몬드 18"/>
            <p:cNvSpPr/>
            <p:nvPr/>
          </p:nvSpPr>
          <p:spPr>
            <a:xfrm>
              <a:off x="6637280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rgbClr val="FF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ko-KR" altLang="en-US" sz="10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0" name="직사각형 19"/>
            <p:cNvSpPr/>
            <p:nvPr/>
          </p:nvSpPr>
          <p:spPr>
            <a:xfrm>
              <a:off x="6550123" y="980728"/>
              <a:ext cx="822315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 to Launch</a:t>
              </a:r>
            </a:p>
          </p:txBody>
        </p:sp>
        <p:sp>
          <p:nvSpPr>
            <p:cNvPr id="21" name="모서리가 둥근 직사각형 20"/>
            <p:cNvSpPr/>
            <p:nvPr/>
          </p:nvSpPr>
          <p:spPr>
            <a:xfrm>
              <a:off x="7317675" y="1412856"/>
              <a:ext cx="648000" cy="720000"/>
            </a:xfrm>
            <a:prstGeom prst="roundRect">
              <a:avLst/>
            </a:prstGeom>
            <a:solidFill>
              <a:srgbClr val="FF0000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5</a:t>
              </a:r>
              <a:endParaRPr lang="ko-KR" altLang="en-US" sz="10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2" name="타원 21"/>
            <p:cNvSpPr/>
            <p:nvPr/>
          </p:nvSpPr>
          <p:spPr>
            <a:xfrm>
              <a:off x="7982270" y="1412856"/>
              <a:ext cx="720000" cy="72000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4000" b="1" kern="0" dirty="0" smtClean="0">
                  <a:solidFill>
                    <a:srgbClr val="000000"/>
                  </a:solidFill>
                  <a:latin typeface="Tahoma" pitchFamily="34" charset="0"/>
                  <a:cs typeface="Tahoma" pitchFamily="34" charset="0"/>
                </a:rPr>
                <a:t>$</a:t>
              </a:r>
              <a:endParaRPr lang="ko-KR" altLang="en-US" sz="40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1651268" y="2204864"/>
              <a:ext cx="1094502" cy="24622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coping</a:t>
              </a:r>
              <a:endParaRPr lang="en-US" altLang="ko-KR" sz="10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3012057" y="2204864"/>
              <a:ext cx="109450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Building Business case</a:t>
              </a:r>
              <a:endParaRPr lang="en-US" altLang="ko-KR" sz="10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4372845" y="2204864"/>
              <a:ext cx="109450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endParaRPr lang="en-US" altLang="ko-KR" sz="10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velopment</a:t>
              </a: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5733635" y="2204864"/>
              <a:ext cx="109450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esting &amp;</a:t>
              </a: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Validation</a:t>
              </a: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7094424" y="2204864"/>
              <a:ext cx="109450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endParaRPr lang="en-US" altLang="ko-KR" sz="10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Launch</a:t>
              </a:r>
            </a:p>
          </p:txBody>
        </p:sp>
        <p:sp>
          <p:nvSpPr>
            <p:cNvPr id="28" name="직사각형 27"/>
            <p:cNvSpPr/>
            <p:nvPr/>
          </p:nvSpPr>
          <p:spPr>
            <a:xfrm>
              <a:off x="7844768" y="980728"/>
              <a:ext cx="995002" cy="40011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ost-Launch</a:t>
              </a:r>
            </a:p>
            <a:p>
              <a:pPr algn="ctr"/>
              <a:r>
                <a:rPr lang="en-US" altLang="ko-KR" sz="10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Re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7611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ChangeArrowheads="1"/>
          </p:cNvSpPr>
          <p:nvPr/>
        </p:nvSpPr>
        <p:spPr bwMode="auto">
          <a:xfrm>
            <a:off x="5236835" y="3049589"/>
            <a:ext cx="355867" cy="1718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7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9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0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8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</p:txBody>
      </p:sp>
      <p:sp>
        <p:nvSpPr>
          <p:cNvPr id="51203" name="Line 3"/>
          <p:cNvSpPr>
            <a:spLocks noChangeShapeType="1"/>
          </p:cNvSpPr>
          <p:nvPr/>
        </p:nvSpPr>
        <p:spPr bwMode="auto">
          <a:xfrm>
            <a:off x="3169577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04" name="Line 4"/>
          <p:cNvSpPr>
            <a:spLocks noChangeShapeType="1"/>
          </p:cNvSpPr>
          <p:nvPr/>
        </p:nvSpPr>
        <p:spPr bwMode="auto">
          <a:xfrm>
            <a:off x="2958047" y="3306763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05" name="Line 5"/>
          <p:cNvSpPr>
            <a:spLocks noChangeShapeType="1"/>
          </p:cNvSpPr>
          <p:nvPr/>
        </p:nvSpPr>
        <p:spPr bwMode="auto">
          <a:xfrm>
            <a:off x="2958047" y="350520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06" name="Line 6"/>
          <p:cNvSpPr>
            <a:spLocks noChangeShapeType="1"/>
          </p:cNvSpPr>
          <p:nvPr/>
        </p:nvSpPr>
        <p:spPr bwMode="auto">
          <a:xfrm>
            <a:off x="2958047" y="370522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07" name="Line 7"/>
          <p:cNvSpPr>
            <a:spLocks noChangeShapeType="1"/>
          </p:cNvSpPr>
          <p:nvPr/>
        </p:nvSpPr>
        <p:spPr bwMode="auto">
          <a:xfrm>
            <a:off x="2958047" y="390207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08" name="Line 8"/>
          <p:cNvSpPr>
            <a:spLocks noChangeShapeType="1"/>
          </p:cNvSpPr>
          <p:nvPr/>
        </p:nvSpPr>
        <p:spPr bwMode="auto">
          <a:xfrm>
            <a:off x="2958047" y="410210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09" name="Line 9"/>
          <p:cNvSpPr>
            <a:spLocks noChangeShapeType="1"/>
          </p:cNvSpPr>
          <p:nvPr/>
        </p:nvSpPr>
        <p:spPr bwMode="auto">
          <a:xfrm>
            <a:off x="2958047" y="429895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0" name="Line 10"/>
          <p:cNvSpPr>
            <a:spLocks noChangeShapeType="1"/>
          </p:cNvSpPr>
          <p:nvPr/>
        </p:nvSpPr>
        <p:spPr bwMode="auto">
          <a:xfrm>
            <a:off x="2958047" y="449897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1" name="Line 11"/>
          <p:cNvSpPr>
            <a:spLocks noChangeShapeType="1"/>
          </p:cNvSpPr>
          <p:nvPr/>
        </p:nvSpPr>
        <p:spPr bwMode="auto">
          <a:xfrm>
            <a:off x="3599525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2" name="Line 12"/>
          <p:cNvSpPr>
            <a:spLocks noChangeShapeType="1"/>
          </p:cNvSpPr>
          <p:nvPr/>
        </p:nvSpPr>
        <p:spPr bwMode="auto">
          <a:xfrm>
            <a:off x="3811058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3" name="Line 13"/>
          <p:cNvSpPr>
            <a:spLocks noChangeShapeType="1"/>
          </p:cNvSpPr>
          <p:nvPr/>
        </p:nvSpPr>
        <p:spPr bwMode="auto">
          <a:xfrm>
            <a:off x="4026033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4" name="Line 14"/>
          <p:cNvSpPr>
            <a:spLocks noChangeShapeType="1"/>
          </p:cNvSpPr>
          <p:nvPr/>
        </p:nvSpPr>
        <p:spPr bwMode="auto">
          <a:xfrm>
            <a:off x="4237567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5" name="Line 15"/>
          <p:cNvSpPr>
            <a:spLocks noChangeShapeType="1"/>
          </p:cNvSpPr>
          <p:nvPr/>
        </p:nvSpPr>
        <p:spPr bwMode="auto">
          <a:xfrm>
            <a:off x="4454260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6" name="Line 16"/>
          <p:cNvSpPr>
            <a:spLocks noChangeShapeType="1"/>
          </p:cNvSpPr>
          <p:nvPr/>
        </p:nvSpPr>
        <p:spPr bwMode="auto">
          <a:xfrm>
            <a:off x="4880769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7" name="Line 17"/>
          <p:cNvSpPr>
            <a:spLocks noChangeShapeType="1"/>
          </p:cNvSpPr>
          <p:nvPr/>
        </p:nvSpPr>
        <p:spPr bwMode="auto">
          <a:xfrm>
            <a:off x="5095743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8" name="Line 18"/>
          <p:cNvSpPr>
            <a:spLocks noChangeShapeType="1"/>
          </p:cNvSpPr>
          <p:nvPr/>
        </p:nvSpPr>
        <p:spPr bwMode="auto">
          <a:xfrm flipH="1">
            <a:off x="1035315" y="4102100"/>
            <a:ext cx="4265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19" name="Line 19"/>
          <p:cNvSpPr>
            <a:spLocks noChangeShapeType="1"/>
          </p:cNvSpPr>
          <p:nvPr/>
        </p:nvSpPr>
        <p:spPr bwMode="auto">
          <a:xfrm>
            <a:off x="1675077" y="4895850"/>
            <a:ext cx="128124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0" name="Line 20"/>
          <p:cNvSpPr>
            <a:spLocks noChangeShapeType="1"/>
          </p:cNvSpPr>
          <p:nvPr/>
        </p:nvSpPr>
        <p:spPr bwMode="auto">
          <a:xfrm>
            <a:off x="1673363" y="5094288"/>
            <a:ext cx="128296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1" name="Line 21"/>
          <p:cNvSpPr>
            <a:spLocks noChangeShapeType="1"/>
          </p:cNvSpPr>
          <p:nvPr/>
        </p:nvSpPr>
        <p:spPr bwMode="auto">
          <a:xfrm>
            <a:off x="3169577" y="469741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2" name="Line 22"/>
          <p:cNvSpPr>
            <a:spLocks noChangeShapeType="1"/>
          </p:cNvSpPr>
          <p:nvPr/>
        </p:nvSpPr>
        <p:spPr bwMode="auto">
          <a:xfrm>
            <a:off x="1675077" y="4697422"/>
            <a:ext cx="0" cy="5984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3" name="Line 23"/>
          <p:cNvSpPr>
            <a:spLocks noChangeShapeType="1"/>
          </p:cNvSpPr>
          <p:nvPr/>
        </p:nvSpPr>
        <p:spPr bwMode="auto">
          <a:xfrm flipH="1">
            <a:off x="3384550" y="4697413"/>
            <a:ext cx="172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4" name="Line 24"/>
          <p:cNvSpPr>
            <a:spLocks noChangeShapeType="1"/>
          </p:cNvSpPr>
          <p:nvPr/>
        </p:nvSpPr>
        <p:spPr bwMode="auto">
          <a:xfrm flipH="1">
            <a:off x="3597804" y="4697413"/>
            <a:ext cx="172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5" name="Line 25"/>
          <p:cNvSpPr>
            <a:spLocks noChangeShapeType="1"/>
          </p:cNvSpPr>
          <p:nvPr/>
        </p:nvSpPr>
        <p:spPr bwMode="auto">
          <a:xfrm>
            <a:off x="3811058" y="469741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6" name="Line 26"/>
          <p:cNvSpPr>
            <a:spLocks noChangeShapeType="1"/>
          </p:cNvSpPr>
          <p:nvPr/>
        </p:nvSpPr>
        <p:spPr bwMode="auto">
          <a:xfrm>
            <a:off x="4026038" y="4697422"/>
            <a:ext cx="1719" cy="5984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7" name="Line 27"/>
          <p:cNvSpPr>
            <a:spLocks noChangeShapeType="1"/>
          </p:cNvSpPr>
          <p:nvPr/>
        </p:nvSpPr>
        <p:spPr bwMode="auto">
          <a:xfrm>
            <a:off x="4237567" y="469741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8" name="Line 28"/>
          <p:cNvSpPr>
            <a:spLocks noChangeShapeType="1"/>
          </p:cNvSpPr>
          <p:nvPr/>
        </p:nvSpPr>
        <p:spPr bwMode="auto">
          <a:xfrm>
            <a:off x="4454261" y="4697413"/>
            <a:ext cx="1720" cy="6032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29" name="Line 29"/>
          <p:cNvSpPr>
            <a:spLocks noChangeShapeType="1"/>
          </p:cNvSpPr>
          <p:nvPr/>
        </p:nvSpPr>
        <p:spPr bwMode="auto">
          <a:xfrm>
            <a:off x="2958042" y="4895850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0" name="Line 30"/>
          <p:cNvSpPr>
            <a:spLocks noChangeShapeType="1"/>
          </p:cNvSpPr>
          <p:nvPr/>
        </p:nvSpPr>
        <p:spPr bwMode="auto">
          <a:xfrm>
            <a:off x="2958042" y="5094288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1" name="Line 31"/>
          <p:cNvSpPr>
            <a:spLocks noChangeShapeType="1"/>
          </p:cNvSpPr>
          <p:nvPr/>
        </p:nvSpPr>
        <p:spPr bwMode="auto">
          <a:xfrm>
            <a:off x="5522252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2" name="Line 32"/>
          <p:cNvSpPr>
            <a:spLocks noChangeShapeType="1"/>
          </p:cNvSpPr>
          <p:nvPr/>
        </p:nvSpPr>
        <p:spPr bwMode="auto">
          <a:xfrm>
            <a:off x="5735506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3" name="Line 33"/>
          <p:cNvSpPr>
            <a:spLocks noChangeShapeType="1"/>
          </p:cNvSpPr>
          <p:nvPr/>
        </p:nvSpPr>
        <p:spPr bwMode="auto">
          <a:xfrm flipV="1">
            <a:off x="4024313" y="132080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4" name="Line 34"/>
          <p:cNvSpPr>
            <a:spLocks noChangeShapeType="1"/>
          </p:cNvSpPr>
          <p:nvPr/>
        </p:nvSpPr>
        <p:spPr bwMode="auto">
          <a:xfrm>
            <a:off x="608806" y="3108325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5" name="Line 35"/>
          <p:cNvSpPr>
            <a:spLocks noChangeShapeType="1"/>
          </p:cNvSpPr>
          <p:nvPr/>
        </p:nvSpPr>
        <p:spPr bwMode="auto">
          <a:xfrm>
            <a:off x="1035315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6" name="Line 36"/>
          <p:cNvSpPr>
            <a:spLocks noChangeShapeType="1"/>
          </p:cNvSpPr>
          <p:nvPr/>
        </p:nvSpPr>
        <p:spPr bwMode="auto">
          <a:xfrm>
            <a:off x="608806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7" name="Line 37"/>
          <p:cNvSpPr>
            <a:spLocks noChangeShapeType="1"/>
          </p:cNvSpPr>
          <p:nvPr/>
        </p:nvSpPr>
        <p:spPr bwMode="auto">
          <a:xfrm>
            <a:off x="608806" y="4697413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8" name="Line 38"/>
          <p:cNvSpPr>
            <a:spLocks noChangeShapeType="1"/>
          </p:cNvSpPr>
          <p:nvPr/>
        </p:nvSpPr>
        <p:spPr bwMode="auto">
          <a:xfrm>
            <a:off x="608806" y="4697422"/>
            <a:ext cx="0" cy="3175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39" name="Line 39"/>
          <p:cNvSpPr>
            <a:spLocks noChangeShapeType="1"/>
          </p:cNvSpPr>
          <p:nvPr/>
        </p:nvSpPr>
        <p:spPr bwMode="auto">
          <a:xfrm>
            <a:off x="608806" y="4697422"/>
            <a:ext cx="0" cy="5937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0" name="Line 40"/>
          <p:cNvSpPr>
            <a:spLocks noChangeShapeType="1"/>
          </p:cNvSpPr>
          <p:nvPr/>
        </p:nvSpPr>
        <p:spPr bwMode="auto">
          <a:xfrm>
            <a:off x="2958042" y="4697413"/>
            <a:ext cx="1720" cy="6143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1" name="Line 41"/>
          <p:cNvSpPr>
            <a:spLocks noChangeShapeType="1"/>
          </p:cNvSpPr>
          <p:nvPr/>
        </p:nvSpPr>
        <p:spPr bwMode="auto">
          <a:xfrm>
            <a:off x="5307277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2" name="Line 42"/>
          <p:cNvSpPr>
            <a:spLocks noChangeShapeType="1"/>
          </p:cNvSpPr>
          <p:nvPr/>
        </p:nvSpPr>
        <p:spPr bwMode="auto">
          <a:xfrm>
            <a:off x="1461823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3" name="Line 43"/>
          <p:cNvSpPr>
            <a:spLocks noChangeShapeType="1"/>
          </p:cNvSpPr>
          <p:nvPr/>
        </p:nvSpPr>
        <p:spPr bwMode="auto">
          <a:xfrm>
            <a:off x="1461823" y="3306763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4" name="Line 44"/>
          <p:cNvSpPr>
            <a:spLocks noChangeShapeType="1"/>
          </p:cNvSpPr>
          <p:nvPr/>
        </p:nvSpPr>
        <p:spPr bwMode="auto">
          <a:xfrm>
            <a:off x="1461823" y="350520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5" name="Line 45"/>
          <p:cNvSpPr>
            <a:spLocks noChangeShapeType="1"/>
          </p:cNvSpPr>
          <p:nvPr/>
        </p:nvSpPr>
        <p:spPr bwMode="auto">
          <a:xfrm>
            <a:off x="1461823" y="370522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6" name="Line 46"/>
          <p:cNvSpPr>
            <a:spLocks noChangeShapeType="1"/>
          </p:cNvSpPr>
          <p:nvPr/>
        </p:nvSpPr>
        <p:spPr bwMode="auto">
          <a:xfrm>
            <a:off x="1461823" y="390207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7" name="Line 47"/>
          <p:cNvSpPr>
            <a:spLocks noChangeShapeType="1"/>
          </p:cNvSpPr>
          <p:nvPr/>
        </p:nvSpPr>
        <p:spPr bwMode="auto">
          <a:xfrm>
            <a:off x="1461823" y="410210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8" name="Line 48"/>
          <p:cNvSpPr>
            <a:spLocks noChangeShapeType="1"/>
          </p:cNvSpPr>
          <p:nvPr/>
        </p:nvSpPr>
        <p:spPr bwMode="auto">
          <a:xfrm>
            <a:off x="1461823" y="429895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49" name="Line 49"/>
          <p:cNvSpPr>
            <a:spLocks noChangeShapeType="1"/>
          </p:cNvSpPr>
          <p:nvPr/>
        </p:nvSpPr>
        <p:spPr bwMode="auto">
          <a:xfrm>
            <a:off x="1461823" y="449897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0" name="Line 50"/>
          <p:cNvSpPr>
            <a:spLocks noChangeShapeType="1"/>
          </p:cNvSpPr>
          <p:nvPr/>
        </p:nvSpPr>
        <p:spPr bwMode="auto">
          <a:xfrm>
            <a:off x="2958042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1" name="Line 51"/>
          <p:cNvSpPr>
            <a:spLocks noChangeShapeType="1"/>
          </p:cNvSpPr>
          <p:nvPr/>
        </p:nvSpPr>
        <p:spPr bwMode="auto">
          <a:xfrm>
            <a:off x="2958042" y="4697413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2" name="Line 52"/>
          <p:cNvSpPr>
            <a:spLocks noChangeShapeType="1"/>
          </p:cNvSpPr>
          <p:nvPr/>
        </p:nvSpPr>
        <p:spPr bwMode="auto">
          <a:xfrm>
            <a:off x="4665795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3" name="Line 53"/>
          <p:cNvSpPr>
            <a:spLocks noChangeShapeType="1"/>
          </p:cNvSpPr>
          <p:nvPr/>
        </p:nvSpPr>
        <p:spPr bwMode="auto">
          <a:xfrm>
            <a:off x="3169577" y="171767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4" name="Line 54"/>
          <p:cNvSpPr>
            <a:spLocks noChangeShapeType="1"/>
          </p:cNvSpPr>
          <p:nvPr/>
        </p:nvSpPr>
        <p:spPr bwMode="auto">
          <a:xfrm>
            <a:off x="3384550" y="1717684"/>
            <a:ext cx="0" cy="13874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5" name="Line 55"/>
          <p:cNvSpPr>
            <a:spLocks noChangeShapeType="1"/>
          </p:cNvSpPr>
          <p:nvPr/>
        </p:nvSpPr>
        <p:spPr bwMode="auto">
          <a:xfrm>
            <a:off x="3597804" y="1717684"/>
            <a:ext cx="0" cy="13874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6" name="Line 56"/>
          <p:cNvSpPr>
            <a:spLocks noChangeShapeType="1"/>
          </p:cNvSpPr>
          <p:nvPr/>
        </p:nvSpPr>
        <p:spPr bwMode="auto">
          <a:xfrm>
            <a:off x="3811058" y="171767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7" name="Line 57"/>
          <p:cNvSpPr>
            <a:spLocks noChangeShapeType="1"/>
          </p:cNvSpPr>
          <p:nvPr/>
        </p:nvSpPr>
        <p:spPr bwMode="auto">
          <a:xfrm>
            <a:off x="4024313" y="171767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8" name="Line 58"/>
          <p:cNvSpPr>
            <a:spLocks noChangeShapeType="1"/>
          </p:cNvSpPr>
          <p:nvPr/>
        </p:nvSpPr>
        <p:spPr bwMode="auto">
          <a:xfrm>
            <a:off x="4237567" y="171767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59" name="Line 59"/>
          <p:cNvSpPr>
            <a:spLocks noChangeShapeType="1"/>
          </p:cNvSpPr>
          <p:nvPr/>
        </p:nvSpPr>
        <p:spPr bwMode="auto">
          <a:xfrm>
            <a:off x="4450821" y="1717675"/>
            <a:ext cx="0" cy="13843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60" name="Line 60"/>
          <p:cNvSpPr>
            <a:spLocks noChangeShapeType="1"/>
          </p:cNvSpPr>
          <p:nvPr/>
        </p:nvSpPr>
        <p:spPr bwMode="auto">
          <a:xfrm>
            <a:off x="2958042" y="1717675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61" name="Line 61"/>
          <p:cNvSpPr>
            <a:spLocks noChangeShapeType="1"/>
          </p:cNvSpPr>
          <p:nvPr/>
        </p:nvSpPr>
        <p:spPr bwMode="auto">
          <a:xfrm>
            <a:off x="2958047" y="310832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62" name="Line 62"/>
          <p:cNvSpPr>
            <a:spLocks noChangeShapeType="1"/>
          </p:cNvSpPr>
          <p:nvPr/>
        </p:nvSpPr>
        <p:spPr bwMode="auto">
          <a:xfrm flipV="1">
            <a:off x="2958042" y="1724025"/>
            <a:ext cx="0" cy="13843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63" name="Line 63"/>
          <p:cNvSpPr>
            <a:spLocks noChangeShapeType="1"/>
          </p:cNvSpPr>
          <p:nvPr/>
        </p:nvSpPr>
        <p:spPr bwMode="auto">
          <a:xfrm>
            <a:off x="4665795" y="171767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64" name="Rectangle 64"/>
          <p:cNvSpPr>
            <a:spLocks noChangeArrowheads="1"/>
          </p:cNvSpPr>
          <p:nvPr/>
        </p:nvSpPr>
        <p:spPr bwMode="auto">
          <a:xfrm rot="16200000">
            <a:off x="92605" y="3731460"/>
            <a:ext cx="1500188" cy="425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</a:t>
            </a:r>
          </a:p>
        </p:txBody>
      </p:sp>
      <p:sp>
        <p:nvSpPr>
          <p:cNvPr id="51265" name="Line 65"/>
          <p:cNvSpPr>
            <a:spLocks noChangeShapeType="1"/>
          </p:cNvSpPr>
          <p:nvPr/>
        </p:nvSpPr>
        <p:spPr bwMode="auto">
          <a:xfrm>
            <a:off x="4665795" y="4697422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66" name="Rectangle 66"/>
          <p:cNvSpPr>
            <a:spLocks noChangeArrowheads="1"/>
          </p:cNvSpPr>
          <p:nvPr/>
        </p:nvSpPr>
        <p:spPr bwMode="auto">
          <a:xfrm rot="16200000">
            <a:off x="5956173" y="3612206"/>
            <a:ext cx="1457325" cy="563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8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oritized Customer</a:t>
            </a:r>
          </a:p>
          <a:p>
            <a:pPr algn="ctr" eaLnBrk="0" latinLnBrk="0" hangingPunct="0">
              <a:lnSpc>
                <a:spcPct val="8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51267" name="Line 67"/>
          <p:cNvSpPr>
            <a:spLocks noChangeShapeType="1"/>
          </p:cNvSpPr>
          <p:nvPr/>
        </p:nvSpPr>
        <p:spPr bwMode="auto">
          <a:xfrm>
            <a:off x="4665800" y="6484938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68" name="Line 68"/>
          <p:cNvSpPr>
            <a:spLocks noChangeShapeType="1"/>
          </p:cNvSpPr>
          <p:nvPr/>
        </p:nvSpPr>
        <p:spPr bwMode="auto">
          <a:xfrm flipV="1">
            <a:off x="2958042" y="132080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69" name="Line 69"/>
          <p:cNvSpPr>
            <a:spLocks noChangeShapeType="1"/>
          </p:cNvSpPr>
          <p:nvPr/>
        </p:nvSpPr>
        <p:spPr bwMode="auto">
          <a:xfrm>
            <a:off x="4665795" y="132080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70" name="Line 70"/>
          <p:cNvSpPr>
            <a:spLocks noChangeShapeType="1"/>
          </p:cNvSpPr>
          <p:nvPr/>
        </p:nvSpPr>
        <p:spPr bwMode="auto">
          <a:xfrm>
            <a:off x="2958042" y="1320800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71" name="Rectangle 71"/>
          <p:cNvSpPr>
            <a:spLocks noChangeArrowheads="1"/>
          </p:cNvSpPr>
          <p:nvPr/>
        </p:nvSpPr>
        <p:spPr bwMode="auto">
          <a:xfrm>
            <a:off x="2985558" y="931872"/>
            <a:ext cx="165100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</p:txBody>
      </p:sp>
      <p:sp>
        <p:nvSpPr>
          <p:cNvPr id="51272" name="Line 72"/>
          <p:cNvSpPr>
            <a:spLocks noChangeShapeType="1"/>
          </p:cNvSpPr>
          <p:nvPr/>
        </p:nvSpPr>
        <p:spPr bwMode="auto">
          <a:xfrm>
            <a:off x="5307279" y="3108325"/>
            <a:ext cx="63976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73" name="Line 73"/>
          <p:cNvSpPr>
            <a:spLocks noChangeShapeType="1"/>
          </p:cNvSpPr>
          <p:nvPr/>
        </p:nvSpPr>
        <p:spPr bwMode="auto">
          <a:xfrm>
            <a:off x="5307279" y="4697413"/>
            <a:ext cx="63976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74" name="Line 74"/>
          <p:cNvSpPr>
            <a:spLocks noChangeShapeType="1"/>
          </p:cNvSpPr>
          <p:nvPr/>
        </p:nvSpPr>
        <p:spPr bwMode="auto">
          <a:xfrm flipV="1">
            <a:off x="1460104" y="171767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75" name="Line 75"/>
          <p:cNvSpPr>
            <a:spLocks noChangeShapeType="1"/>
          </p:cNvSpPr>
          <p:nvPr/>
        </p:nvSpPr>
        <p:spPr bwMode="auto">
          <a:xfrm flipV="1">
            <a:off x="1033595" y="1320809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76" name="Line 76"/>
          <p:cNvSpPr>
            <a:spLocks noChangeShapeType="1"/>
          </p:cNvSpPr>
          <p:nvPr/>
        </p:nvSpPr>
        <p:spPr bwMode="auto">
          <a:xfrm>
            <a:off x="1460108" y="1717675"/>
            <a:ext cx="149621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77" name="Line 77"/>
          <p:cNvSpPr>
            <a:spLocks noChangeShapeType="1"/>
          </p:cNvSpPr>
          <p:nvPr/>
        </p:nvSpPr>
        <p:spPr bwMode="auto">
          <a:xfrm>
            <a:off x="1033600" y="1320809"/>
            <a:ext cx="1922727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78" name="Rectangle 78"/>
          <p:cNvSpPr>
            <a:spLocks noChangeArrowheads="1"/>
          </p:cNvSpPr>
          <p:nvPr/>
        </p:nvSpPr>
        <p:spPr bwMode="auto">
          <a:xfrm>
            <a:off x="2153231" y="1376372"/>
            <a:ext cx="756617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51279" name="Rectangle 79"/>
          <p:cNvSpPr>
            <a:spLocks noChangeArrowheads="1"/>
          </p:cNvSpPr>
          <p:nvPr/>
        </p:nvSpPr>
        <p:spPr bwMode="auto">
          <a:xfrm rot="16200000">
            <a:off x="847048" y="2591685"/>
            <a:ext cx="756617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51280" name="Rectangle 80"/>
          <p:cNvSpPr>
            <a:spLocks noChangeArrowheads="1"/>
          </p:cNvSpPr>
          <p:nvPr/>
        </p:nvSpPr>
        <p:spPr bwMode="auto">
          <a:xfrm rot="16200000">
            <a:off x="1210865" y="2476591"/>
            <a:ext cx="971420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51281" name="Rectangle 81"/>
          <p:cNvSpPr>
            <a:spLocks noChangeArrowheads="1"/>
          </p:cNvSpPr>
          <p:nvPr/>
        </p:nvSpPr>
        <p:spPr bwMode="auto">
          <a:xfrm>
            <a:off x="1915979" y="1746252"/>
            <a:ext cx="971420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51282" name="Rectangle 82"/>
          <p:cNvSpPr>
            <a:spLocks noChangeArrowheads="1"/>
          </p:cNvSpPr>
          <p:nvPr/>
        </p:nvSpPr>
        <p:spPr bwMode="auto">
          <a:xfrm>
            <a:off x="597728" y="4718059"/>
            <a:ext cx="1088438" cy="53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51283" name="Rectangle 83"/>
          <p:cNvSpPr>
            <a:spLocks noChangeArrowheads="1"/>
          </p:cNvSpPr>
          <p:nvPr/>
        </p:nvSpPr>
        <p:spPr bwMode="auto">
          <a:xfrm rot="16200000">
            <a:off x="4436299" y="5707268"/>
            <a:ext cx="1088438" cy="53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51284" name="Line 84"/>
          <p:cNvSpPr>
            <a:spLocks noChangeShapeType="1"/>
          </p:cNvSpPr>
          <p:nvPr/>
        </p:nvSpPr>
        <p:spPr bwMode="auto">
          <a:xfrm>
            <a:off x="4880769" y="4697413"/>
            <a:ext cx="0" cy="7937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85" name="Line 85"/>
          <p:cNvSpPr>
            <a:spLocks noChangeShapeType="1"/>
          </p:cNvSpPr>
          <p:nvPr/>
        </p:nvSpPr>
        <p:spPr bwMode="auto">
          <a:xfrm>
            <a:off x="5094023" y="4697413"/>
            <a:ext cx="0" cy="7937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86" name="Line 86"/>
          <p:cNvSpPr>
            <a:spLocks noChangeShapeType="1"/>
          </p:cNvSpPr>
          <p:nvPr/>
        </p:nvSpPr>
        <p:spPr bwMode="auto">
          <a:xfrm>
            <a:off x="5307277" y="4697422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87" name="Line 87"/>
          <p:cNvSpPr>
            <a:spLocks noChangeShapeType="1"/>
          </p:cNvSpPr>
          <p:nvPr/>
        </p:nvSpPr>
        <p:spPr bwMode="auto">
          <a:xfrm>
            <a:off x="5307277" y="6484938"/>
            <a:ext cx="64148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88" name="Line 88"/>
          <p:cNvSpPr>
            <a:spLocks noChangeShapeType="1"/>
          </p:cNvSpPr>
          <p:nvPr/>
        </p:nvSpPr>
        <p:spPr bwMode="auto">
          <a:xfrm>
            <a:off x="4665800" y="5491163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89" name="Rectangle 89"/>
          <p:cNvSpPr>
            <a:spLocks noChangeArrowheads="1"/>
          </p:cNvSpPr>
          <p:nvPr/>
        </p:nvSpPr>
        <p:spPr bwMode="auto">
          <a:xfrm>
            <a:off x="1651002" y="4673600"/>
            <a:ext cx="593329" cy="668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sp>
        <p:nvSpPr>
          <p:cNvPr id="51290" name="Line 90"/>
          <p:cNvSpPr>
            <a:spLocks noChangeShapeType="1"/>
          </p:cNvSpPr>
          <p:nvPr/>
        </p:nvSpPr>
        <p:spPr bwMode="auto">
          <a:xfrm>
            <a:off x="6375268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1" name="Line 91"/>
          <p:cNvSpPr>
            <a:spLocks noChangeShapeType="1"/>
          </p:cNvSpPr>
          <p:nvPr/>
        </p:nvSpPr>
        <p:spPr bwMode="auto">
          <a:xfrm>
            <a:off x="6375268" y="4697413"/>
            <a:ext cx="0" cy="17827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2" name="Line 92"/>
          <p:cNvSpPr>
            <a:spLocks noChangeShapeType="1"/>
          </p:cNvSpPr>
          <p:nvPr/>
        </p:nvSpPr>
        <p:spPr bwMode="auto">
          <a:xfrm flipH="1">
            <a:off x="5947039" y="6484938"/>
            <a:ext cx="42822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3" name="Line 93"/>
          <p:cNvSpPr>
            <a:spLocks noChangeShapeType="1"/>
          </p:cNvSpPr>
          <p:nvPr/>
        </p:nvSpPr>
        <p:spPr bwMode="auto">
          <a:xfrm flipV="1">
            <a:off x="5947044" y="3106747"/>
            <a:ext cx="1019837" cy="15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4" name="Line 94"/>
          <p:cNvSpPr>
            <a:spLocks noChangeShapeType="1"/>
          </p:cNvSpPr>
          <p:nvPr/>
        </p:nvSpPr>
        <p:spPr bwMode="auto">
          <a:xfrm>
            <a:off x="5947039" y="4697413"/>
            <a:ext cx="42822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5" name="Line 95"/>
          <p:cNvSpPr>
            <a:spLocks noChangeShapeType="1"/>
          </p:cNvSpPr>
          <p:nvPr/>
        </p:nvSpPr>
        <p:spPr bwMode="auto">
          <a:xfrm>
            <a:off x="6356355" y="4697413"/>
            <a:ext cx="61052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6" name="Line 96"/>
          <p:cNvSpPr>
            <a:spLocks noChangeShapeType="1"/>
          </p:cNvSpPr>
          <p:nvPr/>
        </p:nvSpPr>
        <p:spPr bwMode="auto">
          <a:xfrm>
            <a:off x="5307277" y="3306763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7" name="Line 97"/>
          <p:cNvSpPr>
            <a:spLocks noChangeShapeType="1"/>
          </p:cNvSpPr>
          <p:nvPr/>
        </p:nvSpPr>
        <p:spPr bwMode="auto">
          <a:xfrm>
            <a:off x="5307277" y="390207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8" name="Line 98"/>
          <p:cNvSpPr>
            <a:spLocks noChangeShapeType="1"/>
          </p:cNvSpPr>
          <p:nvPr/>
        </p:nvSpPr>
        <p:spPr bwMode="auto">
          <a:xfrm>
            <a:off x="5307277" y="410210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299" name="Line 99"/>
          <p:cNvSpPr>
            <a:spLocks noChangeShapeType="1"/>
          </p:cNvSpPr>
          <p:nvPr/>
        </p:nvSpPr>
        <p:spPr bwMode="auto">
          <a:xfrm>
            <a:off x="5307277" y="429895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0" name="Line 100"/>
          <p:cNvSpPr>
            <a:spLocks noChangeShapeType="1"/>
          </p:cNvSpPr>
          <p:nvPr/>
        </p:nvSpPr>
        <p:spPr bwMode="auto">
          <a:xfrm>
            <a:off x="5307277" y="449897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1" name="Line 101"/>
          <p:cNvSpPr>
            <a:spLocks noChangeShapeType="1"/>
          </p:cNvSpPr>
          <p:nvPr/>
        </p:nvSpPr>
        <p:spPr bwMode="auto">
          <a:xfrm>
            <a:off x="5307277" y="350520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2" name="Line 102"/>
          <p:cNvSpPr>
            <a:spLocks noChangeShapeType="1"/>
          </p:cNvSpPr>
          <p:nvPr/>
        </p:nvSpPr>
        <p:spPr bwMode="auto">
          <a:xfrm>
            <a:off x="5307277" y="370522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3" name="Line 103"/>
          <p:cNvSpPr>
            <a:spLocks noChangeShapeType="1"/>
          </p:cNvSpPr>
          <p:nvPr/>
        </p:nvSpPr>
        <p:spPr bwMode="auto">
          <a:xfrm>
            <a:off x="3384550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4" name="Rectangle 104"/>
          <p:cNvSpPr>
            <a:spLocks noChangeArrowheads="1"/>
          </p:cNvSpPr>
          <p:nvPr/>
        </p:nvSpPr>
        <p:spPr bwMode="auto">
          <a:xfrm rot="16200000">
            <a:off x="4966958" y="5071056"/>
            <a:ext cx="1758950" cy="1062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Importance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arget Value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cale-up Facto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ales Point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bsolute Weight</a:t>
            </a:r>
          </a:p>
        </p:txBody>
      </p:sp>
      <p:sp>
        <p:nvSpPr>
          <p:cNvPr id="51305" name="Line 105"/>
          <p:cNvSpPr>
            <a:spLocks noChangeShapeType="1"/>
          </p:cNvSpPr>
          <p:nvPr/>
        </p:nvSpPr>
        <p:spPr bwMode="auto">
          <a:xfrm>
            <a:off x="6162014" y="310833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6" name="Line 106"/>
          <p:cNvSpPr>
            <a:spLocks noChangeShapeType="1"/>
          </p:cNvSpPr>
          <p:nvPr/>
        </p:nvSpPr>
        <p:spPr bwMode="auto">
          <a:xfrm>
            <a:off x="607087" y="5292725"/>
            <a:ext cx="40587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7" name="Line 107"/>
          <p:cNvSpPr>
            <a:spLocks noChangeShapeType="1"/>
          </p:cNvSpPr>
          <p:nvPr/>
        </p:nvSpPr>
        <p:spPr bwMode="auto">
          <a:xfrm>
            <a:off x="6970316" y="310832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8" name="Line 108"/>
          <p:cNvSpPr>
            <a:spLocks noChangeShapeType="1"/>
          </p:cNvSpPr>
          <p:nvPr/>
        </p:nvSpPr>
        <p:spPr bwMode="auto">
          <a:xfrm>
            <a:off x="4665795" y="923934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09" name="Line 109"/>
          <p:cNvSpPr>
            <a:spLocks noChangeShapeType="1"/>
          </p:cNvSpPr>
          <p:nvPr/>
        </p:nvSpPr>
        <p:spPr bwMode="auto">
          <a:xfrm>
            <a:off x="5520531" y="3108325"/>
            <a:ext cx="0" cy="33718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10" name="Line 110"/>
          <p:cNvSpPr>
            <a:spLocks noChangeShapeType="1"/>
          </p:cNvSpPr>
          <p:nvPr/>
        </p:nvSpPr>
        <p:spPr bwMode="auto">
          <a:xfrm>
            <a:off x="5733785" y="310833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11" name="Line 111"/>
          <p:cNvSpPr>
            <a:spLocks noChangeShapeType="1"/>
          </p:cNvSpPr>
          <p:nvPr/>
        </p:nvSpPr>
        <p:spPr bwMode="auto">
          <a:xfrm>
            <a:off x="5947040" y="310833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51332" name="Group 132"/>
          <p:cNvGrpSpPr>
            <a:grpSpLocks/>
          </p:cNvGrpSpPr>
          <p:nvPr/>
        </p:nvGrpSpPr>
        <p:grpSpPr bwMode="auto">
          <a:xfrm>
            <a:off x="3007921" y="3159127"/>
            <a:ext cx="1604565" cy="1285875"/>
            <a:chOff x="1749" y="1990"/>
            <a:chExt cx="933" cy="810"/>
          </a:xfrm>
        </p:grpSpPr>
        <p:sp>
          <p:nvSpPr>
            <p:cNvPr id="51312" name="Oval 112"/>
            <p:cNvSpPr>
              <a:spLocks noChangeArrowheads="1"/>
            </p:cNvSpPr>
            <p:nvPr/>
          </p:nvSpPr>
          <p:spPr bwMode="auto">
            <a:xfrm>
              <a:off x="1754" y="2369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13" name="Oval 113"/>
            <p:cNvSpPr>
              <a:spLocks noChangeArrowheads="1"/>
            </p:cNvSpPr>
            <p:nvPr/>
          </p:nvSpPr>
          <p:spPr bwMode="auto">
            <a:xfrm>
              <a:off x="1770" y="2384"/>
              <a:ext cx="23" cy="2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14" name="Oval 114"/>
            <p:cNvSpPr>
              <a:spLocks noChangeArrowheads="1"/>
            </p:cNvSpPr>
            <p:nvPr/>
          </p:nvSpPr>
          <p:spPr bwMode="auto">
            <a:xfrm>
              <a:off x="1883" y="2119"/>
              <a:ext cx="54" cy="5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15" name="AutoShape 115"/>
            <p:cNvSpPr>
              <a:spLocks noChangeArrowheads="1"/>
            </p:cNvSpPr>
            <p:nvPr/>
          </p:nvSpPr>
          <p:spPr bwMode="auto">
            <a:xfrm>
              <a:off x="2370" y="2114"/>
              <a:ext cx="54" cy="55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16" name="Oval 116"/>
            <p:cNvSpPr>
              <a:spLocks noChangeArrowheads="1"/>
            </p:cNvSpPr>
            <p:nvPr/>
          </p:nvSpPr>
          <p:spPr bwMode="auto">
            <a:xfrm>
              <a:off x="2127" y="1993"/>
              <a:ext cx="54" cy="5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17" name="Oval 117"/>
            <p:cNvSpPr>
              <a:spLocks noChangeArrowheads="1"/>
            </p:cNvSpPr>
            <p:nvPr/>
          </p:nvSpPr>
          <p:spPr bwMode="auto">
            <a:xfrm>
              <a:off x="2142" y="2008"/>
              <a:ext cx="23" cy="2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18" name="Oval 118"/>
            <p:cNvSpPr>
              <a:spLocks noChangeArrowheads="1"/>
            </p:cNvSpPr>
            <p:nvPr/>
          </p:nvSpPr>
          <p:spPr bwMode="auto">
            <a:xfrm>
              <a:off x="2251" y="2369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19" name="Oval 119"/>
            <p:cNvSpPr>
              <a:spLocks noChangeArrowheads="1"/>
            </p:cNvSpPr>
            <p:nvPr/>
          </p:nvSpPr>
          <p:spPr bwMode="auto">
            <a:xfrm>
              <a:off x="2266" y="2384"/>
              <a:ext cx="24" cy="2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0" name="Oval 120"/>
            <p:cNvSpPr>
              <a:spLocks noChangeArrowheads="1"/>
            </p:cNvSpPr>
            <p:nvPr/>
          </p:nvSpPr>
          <p:spPr bwMode="auto">
            <a:xfrm>
              <a:off x="2003" y="2493"/>
              <a:ext cx="54" cy="5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1" name="Oval 121"/>
            <p:cNvSpPr>
              <a:spLocks noChangeArrowheads="1"/>
            </p:cNvSpPr>
            <p:nvPr/>
          </p:nvSpPr>
          <p:spPr bwMode="auto">
            <a:xfrm>
              <a:off x="2018" y="2509"/>
              <a:ext cx="23" cy="2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2" name="Oval 122"/>
            <p:cNvSpPr>
              <a:spLocks noChangeArrowheads="1"/>
            </p:cNvSpPr>
            <p:nvPr/>
          </p:nvSpPr>
          <p:spPr bwMode="auto">
            <a:xfrm>
              <a:off x="2623" y="2743"/>
              <a:ext cx="54" cy="5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3" name="Oval 123"/>
            <p:cNvSpPr>
              <a:spLocks noChangeArrowheads="1"/>
            </p:cNvSpPr>
            <p:nvPr/>
          </p:nvSpPr>
          <p:spPr bwMode="auto">
            <a:xfrm>
              <a:off x="2639" y="2760"/>
              <a:ext cx="23" cy="2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4" name="Oval 124"/>
            <p:cNvSpPr>
              <a:spLocks noChangeArrowheads="1"/>
            </p:cNvSpPr>
            <p:nvPr/>
          </p:nvSpPr>
          <p:spPr bwMode="auto">
            <a:xfrm>
              <a:off x="2131" y="2370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5" name="Oval 125"/>
            <p:cNvSpPr>
              <a:spLocks noChangeArrowheads="1"/>
            </p:cNvSpPr>
            <p:nvPr/>
          </p:nvSpPr>
          <p:spPr bwMode="auto">
            <a:xfrm>
              <a:off x="2628" y="2495"/>
              <a:ext cx="54" cy="5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6" name="Oval 126"/>
            <p:cNvSpPr>
              <a:spLocks noChangeArrowheads="1"/>
            </p:cNvSpPr>
            <p:nvPr/>
          </p:nvSpPr>
          <p:spPr bwMode="auto">
            <a:xfrm>
              <a:off x="2007" y="2746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7" name="Oval 127"/>
            <p:cNvSpPr>
              <a:spLocks noChangeArrowheads="1"/>
            </p:cNvSpPr>
            <p:nvPr/>
          </p:nvSpPr>
          <p:spPr bwMode="auto">
            <a:xfrm>
              <a:off x="2503" y="2746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8" name="AutoShape 128"/>
            <p:cNvSpPr>
              <a:spLocks noChangeArrowheads="1"/>
            </p:cNvSpPr>
            <p:nvPr/>
          </p:nvSpPr>
          <p:spPr bwMode="auto">
            <a:xfrm>
              <a:off x="1749" y="1990"/>
              <a:ext cx="54" cy="5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29" name="AutoShape 129"/>
            <p:cNvSpPr>
              <a:spLocks noChangeArrowheads="1"/>
            </p:cNvSpPr>
            <p:nvPr/>
          </p:nvSpPr>
          <p:spPr bwMode="auto">
            <a:xfrm>
              <a:off x="2618" y="2364"/>
              <a:ext cx="54" cy="55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30" name="AutoShape 130"/>
            <p:cNvSpPr>
              <a:spLocks noChangeArrowheads="1"/>
            </p:cNvSpPr>
            <p:nvPr/>
          </p:nvSpPr>
          <p:spPr bwMode="auto">
            <a:xfrm>
              <a:off x="2494" y="2490"/>
              <a:ext cx="54" cy="5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31" name="AutoShape 131"/>
            <p:cNvSpPr>
              <a:spLocks noChangeArrowheads="1"/>
            </p:cNvSpPr>
            <p:nvPr/>
          </p:nvSpPr>
          <p:spPr bwMode="auto">
            <a:xfrm>
              <a:off x="1873" y="2615"/>
              <a:ext cx="54" cy="5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51335" name="Group 135"/>
          <p:cNvGrpSpPr>
            <a:grpSpLocks/>
          </p:cNvGrpSpPr>
          <p:nvPr/>
        </p:nvGrpSpPr>
        <p:grpSpPr bwMode="auto">
          <a:xfrm>
            <a:off x="2925374" y="4662489"/>
            <a:ext cx="1755911" cy="277812"/>
            <a:chOff x="1701" y="2937"/>
            <a:chExt cx="1021" cy="175"/>
          </a:xfrm>
        </p:grpSpPr>
        <p:sp>
          <p:nvSpPr>
            <p:cNvPr id="51333" name="Rectangle 133"/>
            <p:cNvSpPr>
              <a:spLocks noChangeArrowheads="1"/>
            </p:cNvSpPr>
            <p:nvPr/>
          </p:nvSpPr>
          <p:spPr bwMode="auto">
            <a:xfrm>
              <a:off x="1701" y="2937"/>
              <a:ext cx="532" cy="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1   3   4   2</a:t>
              </a:r>
            </a:p>
          </p:txBody>
        </p:sp>
        <p:sp>
          <p:nvSpPr>
            <p:cNvPr id="51334" name="Rectangle 134"/>
            <p:cNvSpPr>
              <a:spLocks noChangeArrowheads="1"/>
            </p:cNvSpPr>
            <p:nvPr/>
          </p:nvSpPr>
          <p:spPr bwMode="auto">
            <a:xfrm>
              <a:off x="2190" y="2937"/>
              <a:ext cx="532" cy="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1   2   1   4</a:t>
              </a:r>
            </a:p>
          </p:txBody>
        </p:sp>
      </p:grpSp>
      <p:sp>
        <p:nvSpPr>
          <p:cNvPr id="51336" name="Rectangle 136"/>
          <p:cNvSpPr>
            <a:spLocks noChangeArrowheads="1"/>
          </p:cNvSpPr>
          <p:nvPr/>
        </p:nvSpPr>
        <p:spPr bwMode="auto">
          <a:xfrm>
            <a:off x="4637829" y="3049589"/>
            <a:ext cx="270907" cy="1718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</p:txBody>
      </p:sp>
      <p:sp>
        <p:nvSpPr>
          <p:cNvPr id="51337" name="Rectangle 137"/>
          <p:cNvSpPr>
            <a:spLocks noChangeArrowheads="1"/>
          </p:cNvSpPr>
          <p:nvPr/>
        </p:nvSpPr>
        <p:spPr bwMode="auto">
          <a:xfrm>
            <a:off x="5492565" y="3049589"/>
            <a:ext cx="270907" cy="1718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</p:txBody>
      </p:sp>
      <p:sp>
        <p:nvSpPr>
          <p:cNvPr id="51338" name="Rectangle 138"/>
          <p:cNvSpPr>
            <a:spLocks noChangeArrowheads="1"/>
          </p:cNvSpPr>
          <p:nvPr/>
        </p:nvSpPr>
        <p:spPr bwMode="auto">
          <a:xfrm>
            <a:off x="5565246" y="3656014"/>
            <a:ext cx="534856" cy="477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125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5</a:t>
            </a:r>
          </a:p>
          <a:p>
            <a:pPr algn="ctr" eaLnBrk="0" latinLnBrk="0" hangingPunct="0">
              <a:lnSpc>
                <a:spcPct val="125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</p:txBody>
      </p:sp>
      <p:sp>
        <p:nvSpPr>
          <p:cNvPr id="51339" name="Rectangle 139"/>
          <p:cNvSpPr>
            <a:spLocks noChangeArrowheads="1"/>
          </p:cNvSpPr>
          <p:nvPr/>
        </p:nvSpPr>
        <p:spPr bwMode="auto">
          <a:xfrm>
            <a:off x="5754423" y="3082926"/>
            <a:ext cx="617406" cy="165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2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5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5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5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</p:txBody>
      </p:sp>
      <p:sp>
        <p:nvSpPr>
          <p:cNvPr id="51340" name="Rectangle 140"/>
          <p:cNvSpPr>
            <a:spLocks noChangeArrowheads="1"/>
          </p:cNvSpPr>
          <p:nvPr/>
        </p:nvSpPr>
        <p:spPr bwMode="auto">
          <a:xfrm>
            <a:off x="5959079" y="3624264"/>
            <a:ext cx="626004" cy="554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12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5</a:t>
            </a:r>
          </a:p>
          <a:p>
            <a:pPr algn="ctr" eaLnBrk="0" latinLnBrk="0" hangingPunct="0">
              <a:lnSpc>
                <a:spcPct val="12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</p:txBody>
      </p:sp>
      <p:sp>
        <p:nvSpPr>
          <p:cNvPr id="51341" name="Line 141"/>
          <p:cNvSpPr>
            <a:spLocks noChangeShapeType="1"/>
          </p:cNvSpPr>
          <p:nvPr/>
        </p:nvSpPr>
        <p:spPr bwMode="auto">
          <a:xfrm>
            <a:off x="4665800" y="4697413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42" name="Line 142"/>
          <p:cNvSpPr>
            <a:spLocks noChangeShapeType="1"/>
          </p:cNvSpPr>
          <p:nvPr/>
        </p:nvSpPr>
        <p:spPr bwMode="auto">
          <a:xfrm>
            <a:off x="2958042" y="923925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43" name="Line 143"/>
          <p:cNvSpPr>
            <a:spLocks noChangeShapeType="1"/>
          </p:cNvSpPr>
          <p:nvPr/>
        </p:nvSpPr>
        <p:spPr bwMode="auto">
          <a:xfrm>
            <a:off x="1033595" y="1320800"/>
            <a:ext cx="191928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44" name="Line 144"/>
          <p:cNvSpPr>
            <a:spLocks noChangeShapeType="1"/>
          </p:cNvSpPr>
          <p:nvPr/>
        </p:nvSpPr>
        <p:spPr bwMode="auto">
          <a:xfrm flipV="1">
            <a:off x="2958042" y="923934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1345" name="Rectangle 145"/>
          <p:cNvSpPr>
            <a:spLocks noChangeArrowheads="1"/>
          </p:cNvSpPr>
          <p:nvPr/>
        </p:nvSpPr>
        <p:spPr bwMode="auto">
          <a:xfrm rot="16200000">
            <a:off x="4726451" y="4775211"/>
            <a:ext cx="547688" cy="674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grpSp>
        <p:nvGrpSpPr>
          <p:cNvPr id="51359" name="Group 159"/>
          <p:cNvGrpSpPr>
            <a:grpSpLocks/>
          </p:cNvGrpSpPr>
          <p:nvPr/>
        </p:nvGrpSpPr>
        <p:grpSpPr bwMode="auto">
          <a:xfrm>
            <a:off x="6309921" y="1279525"/>
            <a:ext cx="3035432" cy="2192338"/>
            <a:chOff x="3669" y="806"/>
            <a:chExt cx="1765" cy="1381"/>
          </a:xfrm>
        </p:grpSpPr>
        <p:sp>
          <p:nvSpPr>
            <p:cNvPr id="51346" name="Rectangle 146"/>
            <p:cNvSpPr>
              <a:spLocks noChangeArrowheads="1"/>
            </p:cNvSpPr>
            <p:nvPr/>
          </p:nvSpPr>
          <p:spPr bwMode="auto">
            <a:xfrm>
              <a:off x="3669" y="806"/>
              <a:ext cx="1765" cy="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Relationship between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Customer Requirements and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Technical Descriptors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HATs vs. HOWs</a:t>
              </a:r>
            </a:p>
          </p:txBody>
        </p:sp>
        <p:sp>
          <p:nvSpPr>
            <p:cNvPr id="51347" name="Rectangle 147"/>
            <p:cNvSpPr>
              <a:spLocks noChangeArrowheads="1"/>
            </p:cNvSpPr>
            <p:nvPr/>
          </p:nvSpPr>
          <p:spPr bwMode="auto">
            <a:xfrm>
              <a:off x="4487" y="1701"/>
              <a:ext cx="444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</a:t>
              </a:r>
            </a:p>
          </p:txBody>
        </p:sp>
        <p:sp>
          <p:nvSpPr>
            <p:cNvPr id="51348" name="Rectangle 148"/>
            <p:cNvSpPr>
              <a:spLocks noChangeArrowheads="1"/>
            </p:cNvSpPr>
            <p:nvPr/>
          </p:nvSpPr>
          <p:spPr bwMode="auto">
            <a:xfrm>
              <a:off x="4485" y="1844"/>
              <a:ext cx="501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Medium</a:t>
              </a:r>
            </a:p>
          </p:txBody>
        </p:sp>
        <p:sp>
          <p:nvSpPr>
            <p:cNvPr id="51349" name="Rectangle 149"/>
            <p:cNvSpPr>
              <a:spLocks noChangeArrowheads="1"/>
            </p:cNvSpPr>
            <p:nvPr/>
          </p:nvSpPr>
          <p:spPr bwMode="auto">
            <a:xfrm>
              <a:off x="4485" y="1996"/>
              <a:ext cx="378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eak</a:t>
              </a:r>
            </a:p>
          </p:txBody>
        </p:sp>
        <p:sp>
          <p:nvSpPr>
            <p:cNvPr id="51350" name="Oval 150"/>
            <p:cNvSpPr>
              <a:spLocks noChangeArrowheads="1"/>
            </p:cNvSpPr>
            <p:nvPr/>
          </p:nvSpPr>
          <p:spPr bwMode="auto">
            <a:xfrm>
              <a:off x="4409" y="1862"/>
              <a:ext cx="60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51353" name="Group 153"/>
            <p:cNvGrpSpPr>
              <a:grpSpLocks/>
            </p:cNvGrpSpPr>
            <p:nvPr/>
          </p:nvGrpSpPr>
          <p:grpSpPr bwMode="auto">
            <a:xfrm>
              <a:off x="4405" y="1717"/>
              <a:ext cx="60" cy="64"/>
              <a:chOff x="4405" y="1717"/>
              <a:chExt cx="60" cy="64"/>
            </a:xfrm>
          </p:grpSpPr>
          <p:sp>
            <p:nvSpPr>
              <p:cNvPr id="51351" name="Oval 151"/>
              <p:cNvSpPr>
                <a:spLocks noChangeArrowheads="1"/>
              </p:cNvSpPr>
              <p:nvPr/>
            </p:nvSpPr>
            <p:spPr bwMode="auto">
              <a:xfrm>
                <a:off x="4405" y="1717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1352" name="Oval 152"/>
              <p:cNvSpPr>
                <a:spLocks noChangeArrowheads="1"/>
              </p:cNvSpPr>
              <p:nvPr/>
            </p:nvSpPr>
            <p:spPr bwMode="auto">
              <a:xfrm>
                <a:off x="4422" y="1735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51354" name="Rectangle 154"/>
            <p:cNvSpPr>
              <a:spLocks noChangeArrowheads="1"/>
            </p:cNvSpPr>
            <p:nvPr/>
          </p:nvSpPr>
          <p:spPr bwMode="auto">
            <a:xfrm>
              <a:off x="4149" y="1701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51355" name="Rectangle 155"/>
            <p:cNvSpPr>
              <a:spLocks noChangeArrowheads="1"/>
            </p:cNvSpPr>
            <p:nvPr/>
          </p:nvSpPr>
          <p:spPr bwMode="auto">
            <a:xfrm>
              <a:off x="4149" y="1844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51356" name="Rectangle 156"/>
            <p:cNvSpPr>
              <a:spLocks noChangeArrowheads="1"/>
            </p:cNvSpPr>
            <p:nvPr/>
          </p:nvSpPr>
          <p:spPr bwMode="auto">
            <a:xfrm>
              <a:off x="4143" y="1666"/>
              <a:ext cx="803" cy="521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1357" name="Rectangle 157"/>
            <p:cNvSpPr>
              <a:spLocks noChangeArrowheads="1"/>
            </p:cNvSpPr>
            <p:nvPr/>
          </p:nvSpPr>
          <p:spPr bwMode="auto">
            <a:xfrm>
              <a:off x="4149" y="1996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1</a:t>
              </a:r>
            </a:p>
          </p:txBody>
        </p:sp>
        <p:sp>
          <p:nvSpPr>
            <p:cNvPr id="51358" name="AutoShape 158"/>
            <p:cNvSpPr>
              <a:spLocks noChangeArrowheads="1"/>
            </p:cNvSpPr>
            <p:nvPr/>
          </p:nvSpPr>
          <p:spPr bwMode="auto">
            <a:xfrm>
              <a:off x="4412" y="2012"/>
              <a:ext cx="60" cy="6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575037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61" name="Group 65"/>
          <p:cNvGrpSpPr>
            <a:grpSpLocks/>
          </p:cNvGrpSpPr>
          <p:nvPr/>
        </p:nvGrpSpPr>
        <p:grpSpPr bwMode="auto">
          <a:xfrm>
            <a:off x="5204089" y="152400"/>
            <a:ext cx="1700875" cy="723900"/>
            <a:chOff x="3026" y="96"/>
            <a:chExt cx="989" cy="456"/>
          </a:xfrm>
        </p:grpSpPr>
        <p:sp>
          <p:nvSpPr>
            <p:cNvPr id="55298" name="Line 2"/>
            <p:cNvSpPr>
              <a:spLocks noChangeShapeType="1"/>
            </p:cNvSpPr>
            <p:nvPr/>
          </p:nvSpPr>
          <p:spPr bwMode="auto">
            <a:xfrm flipV="1">
              <a:off x="3030" y="96"/>
              <a:ext cx="491" cy="451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299" name="Line 3"/>
            <p:cNvSpPr>
              <a:spLocks noChangeShapeType="1"/>
            </p:cNvSpPr>
            <p:nvPr/>
          </p:nvSpPr>
          <p:spPr bwMode="auto">
            <a:xfrm flipH="1" flipV="1">
              <a:off x="3092" y="491"/>
              <a:ext cx="60" cy="56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0" name="Line 4"/>
            <p:cNvSpPr>
              <a:spLocks noChangeShapeType="1"/>
            </p:cNvSpPr>
            <p:nvPr/>
          </p:nvSpPr>
          <p:spPr bwMode="auto">
            <a:xfrm flipH="1" flipV="1">
              <a:off x="3152" y="434"/>
              <a:ext cx="125" cy="113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1" name="Line 5"/>
            <p:cNvSpPr>
              <a:spLocks noChangeShapeType="1"/>
            </p:cNvSpPr>
            <p:nvPr/>
          </p:nvSpPr>
          <p:spPr bwMode="auto">
            <a:xfrm flipH="1" flipV="1">
              <a:off x="3214" y="378"/>
              <a:ext cx="186" cy="169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2" name="Line 6"/>
            <p:cNvSpPr>
              <a:spLocks noChangeShapeType="1"/>
            </p:cNvSpPr>
            <p:nvPr/>
          </p:nvSpPr>
          <p:spPr bwMode="auto">
            <a:xfrm flipH="1" flipV="1">
              <a:off x="3277" y="322"/>
              <a:ext cx="245" cy="2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3" name="Line 7"/>
            <p:cNvSpPr>
              <a:spLocks noChangeShapeType="1"/>
            </p:cNvSpPr>
            <p:nvPr/>
          </p:nvSpPr>
          <p:spPr bwMode="auto">
            <a:xfrm flipH="1" flipV="1">
              <a:off x="3338" y="265"/>
              <a:ext cx="309" cy="282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4" name="Line 8"/>
            <p:cNvSpPr>
              <a:spLocks noChangeShapeType="1"/>
            </p:cNvSpPr>
            <p:nvPr/>
          </p:nvSpPr>
          <p:spPr bwMode="auto">
            <a:xfrm flipH="1" flipV="1">
              <a:off x="3400" y="209"/>
              <a:ext cx="369" cy="338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5" name="Line 9"/>
            <p:cNvSpPr>
              <a:spLocks noChangeShapeType="1"/>
            </p:cNvSpPr>
            <p:nvPr/>
          </p:nvSpPr>
          <p:spPr bwMode="auto">
            <a:xfrm flipH="1" flipV="1">
              <a:off x="3461" y="152"/>
              <a:ext cx="432" cy="39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6" name="Line 10"/>
            <p:cNvSpPr>
              <a:spLocks noChangeShapeType="1"/>
            </p:cNvSpPr>
            <p:nvPr/>
          </p:nvSpPr>
          <p:spPr bwMode="auto">
            <a:xfrm flipH="1" flipV="1">
              <a:off x="3521" y="96"/>
              <a:ext cx="491" cy="451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7" name="Line 11"/>
            <p:cNvSpPr>
              <a:spLocks noChangeShapeType="1"/>
            </p:cNvSpPr>
            <p:nvPr/>
          </p:nvSpPr>
          <p:spPr bwMode="auto">
            <a:xfrm flipV="1">
              <a:off x="3889" y="491"/>
              <a:ext cx="61" cy="56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8" name="Line 12"/>
            <p:cNvSpPr>
              <a:spLocks noChangeShapeType="1"/>
            </p:cNvSpPr>
            <p:nvPr/>
          </p:nvSpPr>
          <p:spPr bwMode="auto">
            <a:xfrm flipV="1">
              <a:off x="3765" y="434"/>
              <a:ext cx="124" cy="113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09" name="Line 13"/>
            <p:cNvSpPr>
              <a:spLocks noChangeShapeType="1"/>
            </p:cNvSpPr>
            <p:nvPr/>
          </p:nvSpPr>
          <p:spPr bwMode="auto">
            <a:xfrm flipV="1">
              <a:off x="3642" y="378"/>
              <a:ext cx="186" cy="169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10" name="Line 14"/>
            <p:cNvSpPr>
              <a:spLocks noChangeShapeType="1"/>
            </p:cNvSpPr>
            <p:nvPr/>
          </p:nvSpPr>
          <p:spPr bwMode="auto">
            <a:xfrm flipV="1">
              <a:off x="3519" y="322"/>
              <a:ext cx="246" cy="22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11" name="Line 15"/>
            <p:cNvSpPr>
              <a:spLocks noChangeShapeType="1"/>
            </p:cNvSpPr>
            <p:nvPr/>
          </p:nvSpPr>
          <p:spPr bwMode="auto">
            <a:xfrm flipV="1">
              <a:off x="3395" y="265"/>
              <a:ext cx="308" cy="282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12" name="Line 16"/>
            <p:cNvSpPr>
              <a:spLocks noChangeShapeType="1"/>
            </p:cNvSpPr>
            <p:nvPr/>
          </p:nvSpPr>
          <p:spPr bwMode="auto">
            <a:xfrm flipV="1">
              <a:off x="3273" y="209"/>
              <a:ext cx="369" cy="338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13" name="Line 17"/>
            <p:cNvSpPr>
              <a:spLocks noChangeShapeType="1"/>
            </p:cNvSpPr>
            <p:nvPr/>
          </p:nvSpPr>
          <p:spPr bwMode="auto">
            <a:xfrm flipV="1">
              <a:off x="3148" y="152"/>
              <a:ext cx="433" cy="395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14" name="Line 18"/>
            <p:cNvSpPr>
              <a:spLocks noChangeShapeType="1"/>
            </p:cNvSpPr>
            <p:nvPr/>
          </p:nvSpPr>
          <p:spPr bwMode="auto">
            <a:xfrm flipH="1">
              <a:off x="3026" y="552"/>
              <a:ext cx="989" cy="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55317" name="Group 21"/>
            <p:cNvGrpSpPr>
              <a:grpSpLocks/>
            </p:cNvGrpSpPr>
            <p:nvPr/>
          </p:nvGrpSpPr>
          <p:grpSpPr bwMode="auto">
            <a:xfrm>
              <a:off x="3554" y="188"/>
              <a:ext cx="54" cy="48"/>
              <a:chOff x="3554" y="188"/>
              <a:chExt cx="54" cy="48"/>
            </a:xfrm>
          </p:grpSpPr>
          <p:sp>
            <p:nvSpPr>
              <p:cNvPr id="55315" name="Oval 19"/>
              <p:cNvSpPr>
                <a:spLocks noChangeArrowheads="1"/>
              </p:cNvSpPr>
              <p:nvPr/>
            </p:nvSpPr>
            <p:spPr bwMode="auto">
              <a:xfrm>
                <a:off x="3554" y="188"/>
                <a:ext cx="54" cy="48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16" name="Oval 20"/>
              <p:cNvSpPr>
                <a:spLocks noChangeArrowheads="1"/>
              </p:cNvSpPr>
              <p:nvPr/>
            </p:nvSpPr>
            <p:spPr bwMode="auto">
              <a:xfrm>
                <a:off x="3570" y="202"/>
                <a:ext cx="22" cy="22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22" name="Group 26"/>
            <p:cNvGrpSpPr>
              <a:grpSpLocks/>
            </p:cNvGrpSpPr>
            <p:nvPr/>
          </p:nvGrpSpPr>
          <p:grpSpPr bwMode="auto">
            <a:xfrm>
              <a:off x="3244" y="351"/>
              <a:ext cx="61" cy="56"/>
              <a:chOff x="3244" y="351"/>
              <a:chExt cx="61" cy="56"/>
            </a:xfrm>
          </p:grpSpPr>
          <p:sp>
            <p:nvSpPr>
              <p:cNvPr id="55318" name="Line 22"/>
              <p:cNvSpPr>
                <a:spLocks noChangeShapeType="1"/>
              </p:cNvSpPr>
              <p:nvPr/>
            </p:nvSpPr>
            <p:spPr bwMode="auto">
              <a:xfrm>
                <a:off x="3244" y="379"/>
                <a:ext cx="61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19" name="Line 23"/>
              <p:cNvSpPr>
                <a:spLocks noChangeShapeType="1"/>
              </p:cNvSpPr>
              <p:nvPr/>
            </p:nvSpPr>
            <p:spPr bwMode="auto">
              <a:xfrm>
                <a:off x="3275" y="351"/>
                <a:ext cx="0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20" name="Line 24"/>
              <p:cNvSpPr>
                <a:spLocks noChangeShapeType="1"/>
              </p:cNvSpPr>
              <p:nvPr/>
            </p:nvSpPr>
            <p:spPr bwMode="auto">
              <a:xfrm flipV="1">
                <a:off x="3244" y="351"/>
                <a:ext cx="61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21" name="Line 25"/>
              <p:cNvSpPr>
                <a:spLocks noChangeShapeType="1"/>
              </p:cNvSpPr>
              <p:nvPr/>
            </p:nvSpPr>
            <p:spPr bwMode="auto">
              <a:xfrm flipH="1" flipV="1">
                <a:off x="3244" y="351"/>
                <a:ext cx="61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25" name="Group 29"/>
            <p:cNvGrpSpPr>
              <a:grpSpLocks/>
            </p:cNvGrpSpPr>
            <p:nvPr/>
          </p:nvGrpSpPr>
          <p:grpSpPr bwMode="auto">
            <a:xfrm>
              <a:off x="3307" y="301"/>
              <a:ext cx="54" cy="48"/>
              <a:chOff x="3307" y="301"/>
              <a:chExt cx="54" cy="48"/>
            </a:xfrm>
          </p:grpSpPr>
          <p:sp>
            <p:nvSpPr>
              <p:cNvPr id="55323" name="Oval 27"/>
              <p:cNvSpPr>
                <a:spLocks noChangeArrowheads="1"/>
              </p:cNvSpPr>
              <p:nvPr/>
            </p:nvSpPr>
            <p:spPr bwMode="auto">
              <a:xfrm>
                <a:off x="3307" y="301"/>
                <a:ext cx="54" cy="48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24" name="Oval 28"/>
              <p:cNvSpPr>
                <a:spLocks noChangeArrowheads="1"/>
              </p:cNvSpPr>
              <p:nvPr/>
            </p:nvSpPr>
            <p:spPr bwMode="auto">
              <a:xfrm>
                <a:off x="3323" y="315"/>
                <a:ext cx="23" cy="21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28" name="Group 32"/>
            <p:cNvGrpSpPr>
              <a:grpSpLocks/>
            </p:cNvGrpSpPr>
            <p:nvPr/>
          </p:nvGrpSpPr>
          <p:grpSpPr bwMode="auto">
            <a:xfrm>
              <a:off x="3801" y="414"/>
              <a:ext cx="54" cy="48"/>
              <a:chOff x="3801" y="414"/>
              <a:chExt cx="54" cy="48"/>
            </a:xfrm>
          </p:grpSpPr>
          <p:sp>
            <p:nvSpPr>
              <p:cNvPr id="55326" name="Oval 30"/>
              <p:cNvSpPr>
                <a:spLocks noChangeArrowheads="1"/>
              </p:cNvSpPr>
              <p:nvPr/>
            </p:nvSpPr>
            <p:spPr bwMode="auto">
              <a:xfrm>
                <a:off x="3801" y="414"/>
                <a:ext cx="54" cy="48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27" name="Oval 31"/>
              <p:cNvSpPr>
                <a:spLocks noChangeArrowheads="1"/>
              </p:cNvSpPr>
              <p:nvPr/>
            </p:nvSpPr>
            <p:spPr bwMode="auto">
              <a:xfrm>
                <a:off x="3816" y="428"/>
                <a:ext cx="23" cy="21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31" name="Group 35"/>
            <p:cNvGrpSpPr>
              <a:grpSpLocks/>
            </p:cNvGrpSpPr>
            <p:nvPr/>
          </p:nvGrpSpPr>
          <p:grpSpPr bwMode="auto">
            <a:xfrm>
              <a:off x="3121" y="470"/>
              <a:ext cx="54" cy="49"/>
              <a:chOff x="3121" y="470"/>
              <a:chExt cx="54" cy="49"/>
            </a:xfrm>
          </p:grpSpPr>
          <p:sp>
            <p:nvSpPr>
              <p:cNvPr id="55329" name="Oval 33"/>
              <p:cNvSpPr>
                <a:spLocks noChangeArrowheads="1"/>
              </p:cNvSpPr>
              <p:nvPr/>
            </p:nvSpPr>
            <p:spPr bwMode="auto">
              <a:xfrm>
                <a:off x="3121" y="470"/>
                <a:ext cx="54" cy="4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30" name="Oval 34"/>
              <p:cNvSpPr>
                <a:spLocks noChangeArrowheads="1"/>
              </p:cNvSpPr>
              <p:nvPr/>
            </p:nvSpPr>
            <p:spPr bwMode="auto">
              <a:xfrm>
                <a:off x="3137" y="484"/>
                <a:ext cx="23" cy="22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34" name="Group 38"/>
            <p:cNvGrpSpPr>
              <a:grpSpLocks/>
            </p:cNvGrpSpPr>
            <p:nvPr/>
          </p:nvGrpSpPr>
          <p:grpSpPr bwMode="auto">
            <a:xfrm>
              <a:off x="3554" y="414"/>
              <a:ext cx="54" cy="48"/>
              <a:chOff x="3554" y="414"/>
              <a:chExt cx="54" cy="48"/>
            </a:xfrm>
          </p:grpSpPr>
          <p:sp>
            <p:nvSpPr>
              <p:cNvPr id="55332" name="Oval 36"/>
              <p:cNvSpPr>
                <a:spLocks noChangeArrowheads="1"/>
              </p:cNvSpPr>
              <p:nvPr/>
            </p:nvSpPr>
            <p:spPr bwMode="auto">
              <a:xfrm>
                <a:off x="3554" y="414"/>
                <a:ext cx="54" cy="48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33" name="Oval 37"/>
              <p:cNvSpPr>
                <a:spLocks noChangeArrowheads="1"/>
              </p:cNvSpPr>
              <p:nvPr/>
            </p:nvSpPr>
            <p:spPr bwMode="auto">
              <a:xfrm>
                <a:off x="3570" y="428"/>
                <a:ext cx="22" cy="21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39" name="Group 43"/>
            <p:cNvGrpSpPr>
              <a:grpSpLocks/>
            </p:cNvGrpSpPr>
            <p:nvPr/>
          </p:nvGrpSpPr>
          <p:grpSpPr bwMode="auto">
            <a:xfrm>
              <a:off x="3676" y="410"/>
              <a:ext cx="61" cy="56"/>
              <a:chOff x="3676" y="410"/>
              <a:chExt cx="61" cy="56"/>
            </a:xfrm>
          </p:grpSpPr>
          <p:sp>
            <p:nvSpPr>
              <p:cNvPr id="55335" name="Line 39"/>
              <p:cNvSpPr>
                <a:spLocks noChangeShapeType="1"/>
              </p:cNvSpPr>
              <p:nvPr/>
            </p:nvSpPr>
            <p:spPr bwMode="auto">
              <a:xfrm>
                <a:off x="3676" y="438"/>
                <a:ext cx="61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36" name="Line 40"/>
              <p:cNvSpPr>
                <a:spLocks noChangeShapeType="1"/>
              </p:cNvSpPr>
              <p:nvPr/>
            </p:nvSpPr>
            <p:spPr bwMode="auto">
              <a:xfrm>
                <a:off x="3706" y="410"/>
                <a:ext cx="0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37" name="Line 41"/>
              <p:cNvSpPr>
                <a:spLocks noChangeShapeType="1"/>
              </p:cNvSpPr>
              <p:nvPr/>
            </p:nvSpPr>
            <p:spPr bwMode="auto">
              <a:xfrm flipV="1">
                <a:off x="3676" y="410"/>
                <a:ext cx="61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38" name="Line 42"/>
              <p:cNvSpPr>
                <a:spLocks noChangeShapeType="1"/>
              </p:cNvSpPr>
              <p:nvPr/>
            </p:nvSpPr>
            <p:spPr bwMode="auto">
              <a:xfrm flipH="1" flipV="1">
                <a:off x="3676" y="410"/>
                <a:ext cx="61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44" name="Group 48"/>
            <p:cNvGrpSpPr>
              <a:grpSpLocks/>
            </p:cNvGrpSpPr>
            <p:nvPr/>
          </p:nvGrpSpPr>
          <p:grpSpPr bwMode="auto">
            <a:xfrm>
              <a:off x="3429" y="295"/>
              <a:ext cx="62" cy="56"/>
              <a:chOff x="3429" y="295"/>
              <a:chExt cx="62" cy="56"/>
            </a:xfrm>
          </p:grpSpPr>
          <p:sp>
            <p:nvSpPr>
              <p:cNvPr id="55340" name="Line 44"/>
              <p:cNvSpPr>
                <a:spLocks noChangeShapeType="1"/>
              </p:cNvSpPr>
              <p:nvPr/>
            </p:nvSpPr>
            <p:spPr bwMode="auto">
              <a:xfrm>
                <a:off x="3429" y="323"/>
                <a:ext cx="62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41" name="Line 45"/>
              <p:cNvSpPr>
                <a:spLocks noChangeShapeType="1"/>
              </p:cNvSpPr>
              <p:nvPr/>
            </p:nvSpPr>
            <p:spPr bwMode="auto">
              <a:xfrm>
                <a:off x="3460" y="295"/>
                <a:ext cx="0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42" name="Line 46"/>
              <p:cNvSpPr>
                <a:spLocks noChangeShapeType="1"/>
              </p:cNvSpPr>
              <p:nvPr/>
            </p:nvSpPr>
            <p:spPr bwMode="auto">
              <a:xfrm flipV="1">
                <a:off x="3429" y="295"/>
                <a:ext cx="62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43" name="Line 47"/>
              <p:cNvSpPr>
                <a:spLocks noChangeShapeType="1"/>
              </p:cNvSpPr>
              <p:nvPr/>
            </p:nvSpPr>
            <p:spPr bwMode="auto">
              <a:xfrm flipH="1" flipV="1">
                <a:off x="3429" y="295"/>
                <a:ext cx="62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49" name="Group 53"/>
            <p:cNvGrpSpPr>
              <a:grpSpLocks/>
            </p:cNvGrpSpPr>
            <p:nvPr/>
          </p:nvGrpSpPr>
          <p:grpSpPr bwMode="auto">
            <a:xfrm>
              <a:off x="3491" y="464"/>
              <a:ext cx="61" cy="56"/>
              <a:chOff x="3491" y="464"/>
              <a:chExt cx="61" cy="56"/>
            </a:xfrm>
          </p:grpSpPr>
          <p:sp>
            <p:nvSpPr>
              <p:cNvPr id="55345" name="Line 49"/>
              <p:cNvSpPr>
                <a:spLocks noChangeShapeType="1"/>
              </p:cNvSpPr>
              <p:nvPr/>
            </p:nvSpPr>
            <p:spPr bwMode="auto">
              <a:xfrm>
                <a:off x="3491" y="492"/>
                <a:ext cx="61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46" name="Line 50"/>
              <p:cNvSpPr>
                <a:spLocks noChangeShapeType="1"/>
              </p:cNvSpPr>
              <p:nvPr/>
            </p:nvSpPr>
            <p:spPr bwMode="auto">
              <a:xfrm>
                <a:off x="3521" y="464"/>
                <a:ext cx="0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47" name="Line 51"/>
              <p:cNvSpPr>
                <a:spLocks noChangeShapeType="1"/>
              </p:cNvSpPr>
              <p:nvPr/>
            </p:nvSpPr>
            <p:spPr bwMode="auto">
              <a:xfrm flipV="1">
                <a:off x="3491" y="464"/>
                <a:ext cx="61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48" name="Line 52"/>
              <p:cNvSpPr>
                <a:spLocks noChangeShapeType="1"/>
              </p:cNvSpPr>
              <p:nvPr/>
            </p:nvSpPr>
            <p:spPr bwMode="auto">
              <a:xfrm flipH="1" flipV="1">
                <a:off x="3491" y="464"/>
                <a:ext cx="61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55350" name="Oval 54"/>
            <p:cNvSpPr>
              <a:spLocks noChangeArrowheads="1"/>
            </p:cNvSpPr>
            <p:nvPr/>
          </p:nvSpPr>
          <p:spPr bwMode="auto">
            <a:xfrm>
              <a:off x="3553" y="302"/>
              <a:ext cx="54" cy="48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351" name="Oval 55"/>
            <p:cNvSpPr>
              <a:spLocks noChangeArrowheads="1"/>
            </p:cNvSpPr>
            <p:nvPr/>
          </p:nvSpPr>
          <p:spPr bwMode="auto">
            <a:xfrm>
              <a:off x="3615" y="471"/>
              <a:ext cx="53" cy="49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55354" name="Group 58"/>
            <p:cNvGrpSpPr>
              <a:grpSpLocks/>
            </p:cNvGrpSpPr>
            <p:nvPr/>
          </p:nvGrpSpPr>
          <p:grpSpPr bwMode="auto">
            <a:xfrm>
              <a:off x="3487" y="128"/>
              <a:ext cx="62" cy="56"/>
              <a:chOff x="3487" y="128"/>
              <a:chExt cx="62" cy="56"/>
            </a:xfrm>
          </p:grpSpPr>
          <p:sp>
            <p:nvSpPr>
              <p:cNvPr id="55352" name="Line 56"/>
              <p:cNvSpPr>
                <a:spLocks noChangeShapeType="1"/>
              </p:cNvSpPr>
              <p:nvPr/>
            </p:nvSpPr>
            <p:spPr bwMode="auto">
              <a:xfrm flipV="1">
                <a:off x="3487" y="128"/>
                <a:ext cx="62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53" name="Line 57"/>
              <p:cNvSpPr>
                <a:spLocks noChangeShapeType="1"/>
              </p:cNvSpPr>
              <p:nvPr/>
            </p:nvSpPr>
            <p:spPr bwMode="auto">
              <a:xfrm flipH="1" flipV="1">
                <a:off x="3487" y="128"/>
                <a:ext cx="62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57" name="Group 61"/>
            <p:cNvGrpSpPr>
              <a:grpSpLocks/>
            </p:cNvGrpSpPr>
            <p:nvPr/>
          </p:nvGrpSpPr>
          <p:grpSpPr bwMode="auto">
            <a:xfrm>
              <a:off x="3672" y="297"/>
              <a:ext cx="62" cy="56"/>
              <a:chOff x="3672" y="297"/>
              <a:chExt cx="62" cy="56"/>
            </a:xfrm>
          </p:grpSpPr>
          <p:sp>
            <p:nvSpPr>
              <p:cNvPr id="55355" name="Line 59"/>
              <p:cNvSpPr>
                <a:spLocks noChangeShapeType="1"/>
              </p:cNvSpPr>
              <p:nvPr/>
            </p:nvSpPr>
            <p:spPr bwMode="auto">
              <a:xfrm flipV="1">
                <a:off x="3672" y="297"/>
                <a:ext cx="62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56" name="Line 60"/>
              <p:cNvSpPr>
                <a:spLocks noChangeShapeType="1"/>
              </p:cNvSpPr>
              <p:nvPr/>
            </p:nvSpPr>
            <p:spPr bwMode="auto">
              <a:xfrm flipH="1" flipV="1">
                <a:off x="3672" y="297"/>
                <a:ext cx="62" cy="56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360" name="Group 64"/>
            <p:cNvGrpSpPr>
              <a:grpSpLocks/>
            </p:cNvGrpSpPr>
            <p:nvPr/>
          </p:nvGrpSpPr>
          <p:grpSpPr bwMode="auto">
            <a:xfrm>
              <a:off x="3364" y="466"/>
              <a:ext cx="62" cy="57"/>
              <a:chOff x="3364" y="466"/>
              <a:chExt cx="62" cy="57"/>
            </a:xfrm>
          </p:grpSpPr>
          <p:sp>
            <p:nvSpPr>
              <p:cNvPr id="55358" name="Line 62"/>
              <p:cNvSpPr>
                <a:spLocks noChangeShapeType="1"/>
              </p:cNvSpPr>
              <p:nvPr/>
            </p:nvSpPr>
            <p:spPr bwMode="auto">
              <a:xfrm flipV="1">
                <a:off x="3364" y="466"/>
                <a:ext cx="62" cy="57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359" name="Line 63"/>
              <p:cNvSpPr>
                <a:spLocks noChangeShapeType="1"/>
              </p:cNvSpPr>
              <p:nvPr/>
            </p:nvSpPr>
            <p:spPr bwMode="auto">
              <a:xfrm flipH="1" flipV="1">
                <a:off x="3364" y="466"/>
                <a:ext cx="62" cy="57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</p:grpSp>
      <p:sp>
        <p:nvSpPr>
          <p:cNvPr id="55362" name="Rectangle 66"/>
          <p:cNvSpPr>
            <a:spLocks noChangeArrowheads="1"/>
          </p:cNvSpPr>
          <p:nvPr/>
        </p:nvSpPr>
        <p:spPr bwMode="auto">
          <a:xfrm>
            <a:off x="2791226" y="5589597"/>
            <a:ext cx="2323200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bsolute Weight and Percent</a:t>
            </a:r>
          </a:p>
        </p:txBody>
      </p:sp>
      <p:sp>
        <p:nvSpPr>
          <p:cNvPr id="55363" name="Line 67"/>
          <p:cNvSpPr>
            <a:spLocks noChangeShapeType="1"/>
          </p:cNvSpPr>
          <p:nvPr/>
        </p:nvSpPr>
        <p:spPr bwMode="auto">
          <a:xfrm>
            <a:off x="2861734" y="5259388"/>
            <a:ext cx="4265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64" name="Line 68"/>
          <p:cNvSpPr>
            <a:spLocks noChangeShapeType="1"/>
          </p:cNvSpPr>
          <p:nvPr/>
        </p:nvSpPr>
        <p:spPr bwMode="auto">
          <a:xfrm>
            <a:off x="2861733" y="5629275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65" name="Line 69"/>
          <p:cNvSpPr>
            <a:spLocks noChangeShapeType="1"/>
          </p:cNvSpPr>
          <p:nvPr/>
        </p:nvSpPr>
        <p:spPr bwMode="auto">
          <a:xfrm>
            <a:off x="5420783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66" name="Line 70"/>
          <p:cNvSpPr>
            <a:spLocks noChangeShapeType="1"/>
          </p:cNvSpPr>
          <p:nvPr/>
        </p:nvSpPr>
        <p:spPr bwMode="auto">
          <a:xfrm>
            <a:off x="2861733" y="5818188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67" name="Line 71"/>
          <p:cNvSpPr>
            <a:spLocks noChangeShapeType="1"/>
          </p:cNvSpPr>
          <p:nvPr/>
        </p:nvSpPr>
        <p:spPr bwMode="auto">
          <a:xfrm>
            <a:off x="2861733" y="5446713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68" name="Line 72"/>
          <p:cNvSpPr>
            <a:spLocks noChangeShapeType="1"/>
          </p:cNvSpPr>
          <p:nvPr/>
        </p:nvSpPr>
        <p:spPr bwMode="auto">
          <a:xfrm>
            <a:off x="3288242" y="5259388"/>
            <a:ext cx="19210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69" name="Line 73"/>
          <p:cNvSpPr>
            <a:spLocks noChangeShapeType="1"/>
          </p:cNvSpPr>
          <p:nvPr/>
        </p:nvSpPr>
        <p:spPr bwMode="auto">
          <a:xfrm>
            <a:off x="5635763" y="5259388"/>
            <a:ext cx="1719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0" name="Line 74"/>
          <p:cNvSpPr>
            <a:spLocks noChangeShapeType="1"/>
          </p:cNvSpPr>
          <p:nvPr/>
        </p:nvSpPr>
        <p:spPr bwMode="auto">
          <a:xfrm>
            <a:off x="5847292" y="5259388"/>
            <a:ext cx="172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1" name="Line 75"/>
          <p:cNvSpPr>
            <a:spLocks noChangeShapeType="1"/>
          </p:cNvSpPr>
          <p:nvPr/>
        </p:nvSpPr>
        <p:spPr bwMode="auto">
          <a:xfrm>
            <a:off x="6062266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2" name="Line 76"/>
          <p:cNvSpPr>
            <a:spLocks noChangeShapeType="1"/>
          </p:cNvSpPr>
          <p:nvPr/>
        </p:nvSpPr>
        <p:spPr bwMode="auto">
          <a:xfrm>
            <a:off x="6275520" y="5259388"/>
            <a:ext cx="5159" cy="7413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3" name="Line 77"/>
          <p:cNvSpPr>
            <a:spLocks noChangeShapeType="1"/>
          </p:cNvSpPr>
          <p:nvPr/>
        </p:nvSpPr>
        <p:spPr bwMode="auto">
          <a:xfrm>
            <a:off x="6488775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4" name="Line 78"/>
          <p:cNvSpPr>
            <a:spLocks noChangeShapeType="1"/>
          </p:cNvSpPr>
          <p:nvPr/>
        </p:nvSpPr>
        <p:spPr bwMode="auto">
          <a:xfrm>
            <a:off x="6700308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5" name="Line 79"/>
          <p:cNvSpPr>
            <a:spLocks noChangeShapeType="1"/>
          </p:cNvSpPr>
          <p:nvPr/>
        </p:nvSpPr>
        <p:spPr bwMode="auto">
          <a:xfrm>
            <a:off x="2861733" y="5259388"/>
            <a:ext cx="0" cy="7429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6" name="Line 80"/>
          <p:cNvSpPr>
            <a:spLocks noChangeShapeType="1"/>
          </p:cNvSpPr>
          <p:nvPr/>
        </p:nvSpPr>
        <p:spPr bwMode="auto">
          <a:xfrm>
            <a:off x="2861733" y="6002338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7" name="Line 81"/>
          <p:cNvSpPr>
            <a:spLocks noChangeShapeType="1"/>
          </p:cNvSpPr>
          <p:nvPr/>
        </p:nvSpPr>
        <p:spPr bwMode="auto">
          <a:xfrm>
            <a:off x="5209250" y="5259397"/>
            <a:ext cx="0" cy="1873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8" name="Line 82"/>
          <p:cNvSpPr>
            <a:spLocks noChangeShapeType="1"/>
          </p:cNvSpPr>
          <p:nvPr/>
        </p:nvSpPr>
        <p:spPr bwMode="auto">
          <a:xfrm>
            <a:off x="5210969" y="6002338"/>
            <a:ext cx="170259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79" name="Line 83"/>
          <p:cNvSpPr>
            <a:spLocks noChangeShapeType="1"/>
          </p:cNvSpPr>
          <p:nvPr/>
        </p:nvSpPr>
        <p:spPr bwMode="auto">
          <a:xfrm>
            <a:off x="6915283" y="5259397"/>
            <a:ext cx="0" cy="9302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80" name="Line 84"/>
          <p:cNvSpPr>
            <a:spLocks noChangeShapeType="1"/>
          </p:cNvSpPr>
          <p:nvPr/>
        </p:nvSpPr>
        <p:spPr bwMode="auto">
          <a:xfrm>
            <a:off x="5209250" y="6002347"/>
            <a:ext cx="0" cy="3698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81" name="Line 85"/>
          <p:cNvSpPr>
            <a:spLocks noChangeShapeType="1"/>
          </p:cNvSpPr>
          <p:nvPr/>
        </p:nvSpPr>
        <p:spPr bwMode="auto">
          <a:xfrm>
            <a:off x="5210969" y="6372225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82" name="Line 86"/>
          <p:cNvSpPr>
            <a:spLocks noChangeShapeType="1"/>
          </p:cNvSpPr>
          <p:nvPr/>
        </p:nvSpPr>
        <p:spPr bwMode="auto">
          <a:xfrm flipV="1">
            <a:off x="6915283" y="6189663"/>
            <a:ext cx="0" cy="1825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83" name="Rectangle 87"/>
          <p:cNvSpPr>
            <a:spLocks noChangeArrowheads="1"/>
          </p:cNvSpPr>
          <p:nvPr/>
        </p:nvSpPr>
        <p:spPr bwMode="auto">
          <a:xfrm>
            <a:off x="5140463" y="5970596"/>
            <a:ext cx="1838457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oritized Technical Descriptors</a:t>
            </a:r>
          </a:p>
        </p:txBody>
      </p:sp>
      <p:sp>
        <p:nvSpPr>
          <p:cNvPr id="55384" name="Rectangle 88"/>
          <p:cNvSpPr>
            <a:spLocks noChangeArrowheads="1"/>
          </p:cNvSpPr>
          <p:nvPr/>
        </p:nvSpPr>
        <p:spPr bwMode="auto">
          <a:xfrm>
            <a:off x="2789506" y="5233997"/>
            <a:ext cx="2338589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Degree of Technical Difficulty</a:t>
            </a:r>
          </a:p>
        </p:txBody>
      </p:sp>
      <p:sp>
        <p:nvSpPr>
          <p:cNvPr id="55385" name="Rectangle 89"/>
          <p:cNvSpPr>
            <a:spLocks noChangeArrowheads="1"/>
          </p:cNvSpPr>
          <p:nvPr/>
        </p:nvSpPr>
        <p:spPr bwMode="auto">
          <a:xfrm>
            <a:off x="2796384" y="5780097"/>
            <a:ext cx="2252668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lative Weight and Percent</a:t>
            </a:r>
          </a:p>
        </p:txBody>
      </p:sp>
      <p:sp>
        <p:nvSpPr>
          <p:cNvPr id="55386" name="Rectangle 90"/>
          <p:cNvSpPr>
            <a:spLocks noChangeArrowheads="1"/>
          </p:cNvSpPr>
          <p:nvPr/>
        </p:nvSpPr>
        <p:spPr bwMode="auto">
          <a:xfrm>
            <a:off x="2792948" y="5411797"/>
            <a:ext cx="1089401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arget Value</a:t>
            </a:r>
          </a:p>
        </p:txBody>
      </p:sp>
      <p:sp>
        <p:nvSpPr>
          <p:cNvPr id="55387" name="Line 91"/>
          <p:cNvSpPr>
            <a:spLocks noChangeShapeType="1"/>
          </p:cNvSpPr>
          <p:nvPr/>
        </p:nvSpPr>
        <p:spPr bwMode="auto">
          <a:xfrm>
            <a:off x="5209250" y="5446722"/>
            <a:ext cx="0" cy="5556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88" name="Line 92"/>
          <p:cNvSpPr>
            <a:spLocks noChangeShapeType="1"/>
          </p:cNvSpPr>
          <p:nvPr/>
        </p:nvSpPr>
        <p:spPr bwMode="auto">
          <a:xfrm>
            <a:off x="5209254" y="5259388"/>
            <a:ext cx="170603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89" name="Line 93"/>
          <p:cNvSpPr>
            <a:spLocks noChangeShapeType="1"/>
          </p:cNvSpPr>
          <p:nvPr/>
        </p:nvSpPr>
        <p:spPr bwMode="auto">
          <a:xfrm>
            <a:off x="5209254" y="5446713"/>
            <a:ext cx="170603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90" name="Line 94"/>
          <p:cNvSpPr>
            <a:spLocks noChangeShapeType="1"/>
          </p:cNvSpPr>
          <p:nvPr/>
        </p:nvSpPr>
        <p:spPr bwMode="auto">
          <a:xfrm>
            <a:off x="5209254" y="5629275"/>
            <a:ext cx="170603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391" name="Line 95"/>
          <p:cNvSpPr>
            <a:spLocks noChangeShapeType="1"/>
          </p:cNvSpPr>
          <p:nvPr/>
        </p:nvSpPr>
        <p:spPr bwMode="auto">
          <a:xfrm>
            <a:off x="5209254" y="5818188"/>
            <a:ext cx="170603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55394" name="Group 98"/>
          <p:cNvGrpSpPr>
            <a:grpSpLocks/>
          </p:cNvGrpSpPr>
          <p:nvPr/>
        </p:nvGrpSpPr>
        <p:grpSpPr bwMode="auto">
          <a:xfrm>
            <a:off x="5190350" y="5222883"/>
            <a:ext cx="1754192" cy="277813"/>
            <a:chOff x="3018" y="3290"/>
            <a:chExt cx="1020" cy="175"/>
          </a:xfrm>
        </p:grpSpPr>
        <p:sp>
          <p:nvSpPr>
            <p:cNvPr id="55392" name="Rectangle 96"/>
            <p:cNvSpPr>
              <a:spLocks noChangeArrowheads="1"/>
            </p:cNvSpPr>
            <p:nvPr/>
          </p:nvSpPr>
          <p:spPr bwMode="auto">
            <a:xfrm>
              <a:off x="3018" y="3290"/>
              <a:ext cx="532" cy="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1   8   4   2</a:t>
              </a:r>
            </a:p>
          </p:txBody>
        </p:sp>
        <p:sp>
          <p:nvSpPr>
            <p:cNvPr id="55393" name="Rectangle 97"/>
            <p:cNvSpPr>
              <a:spLocks noChangeArrowheads="1"/>
            </p:cNvSpPr>
            <p:nvPr/>
          </p:nvSpPr>
          <p:spPr bwMode="auto">
            <a:xfrm>
              <a:off x="3506" y="3290"/>
              <a:ext cx="532" cy="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9   8   2   5</a:t>
              </a:r>
            </a:p>
          </p:txBody>
        </p:sp>
      </p:grpSp>
      <p:sp>
        <p:nvSpPr>
          <p:cNvPr id="55395" name="Rectangle 99"/>
          <p:cNvSpPr>
            <a:spLocks noChangeArrowheads="1"/>
          </p:cNvSpPr>
          <p:nvPr/>
        </p:nvSpPr>
        <p:spPr bwMode="auto">
          <a:xfrm>
            <a:off x="5988385" y="5599122"/>
            <a:ext cx="355867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90</a:t>
            </a:r>
          </a:p>
        </p:txBody>
      </p:sp>
      <p:sp>
        <p:nvSpPr>
          <p:cNvPr id="55396" name="Rectangle 100"/>
          <p:cNvSpPr>
            <a:spLocks noChangeArrowheads="1"/>
          </p:cNvSpPr>
          <p:nvPr/>
        </p:nvSpPr>
        <p:spPr bwMode="auto">
          <a:xfrm>
            <a:off x="5970980" y="5784859"/>
            <a:ext cx="397545" cy="246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33</a:t>
            </a:r>
          </a:p>
        </p:txBody>
      </p:sp>
      <p:grpSp>
        <p:nvGrpSpPr>
          <p:cNvPr id="55399" name="Group 103"/>
          <p:cNvGrpSpPr>
            <a:grpSpLocks/>
          </p:cNvGrpSpPr>
          <p:nvPr/>
        </p:nvGrpSpPr>
        <p:grpSpPr bwMode="auto">
          <a:xfrm>
            <a:off x="5195508" y="5410208"/>
            <a:ext cx="1754192" cy="277813"/>
            <a:chOff x="3021" y="3408"/>
            <a:chExt cx="1020" cy="175"/>
          </a:xfrm>
        </p:grpSpPr>
        <p:sp>
          <p:nvSpPr>
            <p:cNvPr id="55397" name="Rectangle 101"/>
            <p:cNvSpPr>
              <a:spLocks noChangeArrowheads="1"/>
            </p:cNvSpPr>
            <p:nvPr/>
          </p:nvSpPr>
          <p:spPr bwMode="auto">
            <a:xfrm>
              <a:off x="3021" y="3408"/>
              <a:ext cx="532" cy="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2   3   4   3</a:t>
              </a:r>
            </a:p>
          </p:txBody>
        </p:sp>
        <p:sp>
          <p:nvSpPr>
            <p:cNvPr id="55398" name="Rectangle 102"/>
            <p:cNvSpPr>
              <a:spLocks noChangeArrowheads="1"/>
            </p:cNvSpPr>
            <p:nvPr/>
          </p:nvSpPr>
          <p:spPr bwMode="auto">
            <a:xfrm>
              <a:off x="3509" y="3408"/>
              <a:ext cx="532" cy="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1   3   1   5</a:t>
              </a:r>
            </a:p>
          </p:txBody>
        </p:sp>
      </p:grpSp>
      <p:sp>
        <p:nvSpPr>
          <p:cNvPr id="55400" name="Rectangle 104"/>
          <p:cNvSpPr>
            <a:spLocks noChangeArrowheads="1"/>
          </p:cNvSpPr>
          <p:nvPr/>
        </p:nvSpPr>
        <p:spPr bwMode="auto">
          <a:xfrm>
            <a:off x="7489762" y="3005144"/>
            <a:ext cx="355867" cy="1718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7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9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0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8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</p:txBody>
      </p:sp>
      <p:sp>
        <p:nvSpPr>
          <p:cNvPr id="55401" name="Line 105"/>
          <p:cNvSpPr>
            <a:spLocks noChangeShapeType="1"/>
          </p:cNvSpPr>
          <p:nvPr/>
        </p:nvSpPr>
        <p:spPr bwMode="auto">
          <a:xfrm>
            <a:off x="5422504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02" name="Line 106"/>
          <p:cNvSpPr>
            <a:spLocks noChangeShapeType="1"/>
          </p:cNvSpPr>
          <p:nvPr/>
        </p:nvSpPr>
        <p:spPr bwMode="auto">
          <a:xfrm>
            <a:off x="5210974" y="3262313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03" name="Line 107"/>
          <p:cNvSpPr>
            <a:spLocks noChangeShapeType="1"/>
          </p:cNvSpPr>
          <p:nvPr/>
        </p:nvSpPr>
        <p:spPr bwMode="auto">
          <a:xfrm>
            <a:off x="5210974" y="346075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04" name="Line 108"/>
          <p:cNvSpPr>
            <a:spLocks noChangeShapeType="1"/>
          </p:cNvSpPr>
          <p:nvPr/>
        </p:nvSpPr>
        <p:spPr bwMode="auto">
          <a:xfrm>
            <a:off x="5210974" y="366077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05" name="Line 109"/>
          <p:cNvSpPr>
            <a:spLocks noChangeShapeType="1"/>
          </p:cNvSpPr>
          <p:nvPr/>
        </p:nvSpPr>
        <p:spPr bwMode="auto">
          <a:xfrm>
            <a:off x="5210974" y="385762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06" name="Line 110"/>
          <p:cNvSpPr>
            <a:spLocks noChangeShapeType="1"/>
          </p:cNvSpPr>
          <p:nvPr/>
        </p:nvSpPr>
        <p:spPr bwMode="auto">
          <a:xfrm>
            <a:off x="5210974" y="405765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07" name="Line 111"/>
          <p:cNvSpPr>
            <a:spLocks noChangeShapeType="1"/>
          </p:cNvSpPr>
          <p:nvPr/>
        </p:nvSpPr>
        <p:spPr bwMode="auto">
          <a:xfrm>
            <a:off x="5210974" y="4254500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08" name="Line 112"/>
          <p:cNvSpPr>
            <a:spLocks noChangeShapeType="1"/>
          </p:cNvSpPr>
          <p:nvPr/>
        </p:nvSpPr>
        <p:spPr bwMode="auto">
          <a:xfrm>
            <a:off x="5210974" y="445452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09" name="Line 113"/>
          <p:cNvSpPr>
            <a:spLocks noChangeShapeType="1"/>
          </p:cNvSpPr>
          <p:nvPr/>
        </p:nvSpPr>
        <p:spPr bwMode="auto">
          <a:xfrm>
            <a:off x="5852452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0" name="Line 114"/>
          <p:cNvSpPr>
            <a:spLocks noChangeShapeType="1"/>
          </p:cNvSpPr>
          <p:nvPr/>
        </p:nvSpPr>
        <p:spPr bwMode="auto">
          <a:xfrm>
            <a:off x="6063985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1" name="Line 115"/>
          <p:cNvSpPr>
            <a:spLocks noChangeShapeType="1"/>
          </p:cNvSpPr>
          <p:nvPr/>
        </p:nvSpPr>
        <p:spPr bwMode="auto">
          <a:xfrm>
            <a:off x="6278960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2" name="Line 116"/>
          <p:cNvSpPr>
            <a:spLocks noChangeShapeType="1"/>
          </p:cNvSpPr>
          <p:nvPr/>
        </p:nvSpPr>
        <p:spPr bwMode="auto">
          <a:xfrm>
            <a:off x="6490494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3" name="Line 117"/>
          <p:cNvSpPr>
            <a:spLocks noChangeShapeType="1"/>
          </p:cNvSpPr>
          <p:nvPr/>
        </p:nvSpPr>
        <p:spPr bwMode="auto">
          <a:xfrm>
            <a:off x="6707188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4" name="Line 118"/>
          <p:cNvSpPr>
            <a:spLocks noChangeShapeType="1"/>
          </p:cNvSpPr>
          <p:nvPr/>
        </p:nvSpPr>
        <p:spPr bwMode="auto">
          <a:xfrm>
            <a:off x="7133696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5" name="Line 119"/>
          <p:cNvSpPr>
            <a:spLocks noChangeShapeType="1"/>
          </p:cNvSpPr>
          <p:nvPr/>
        </p:nvSpPr>
        <p:spPr bwMode="auto">
          <a:xfrm>
            <a:off x="7348670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6" name="Line 120"/>
          <p:cNvSpPr>
            <a:spLocks noChangeShapeType="1"/>
          </p:cNvSpPr>
          <p:nvPr/>
        </p:nvSpPr>
        <p:spPr bwMode="auto">
          <a:xfrm flipH="1">
            <a:off x="3288242" y="4057650"/>
            <a:ext cx="4265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7" name="Line 121"/>
          <p:cNvSpPr>
            <a:spLocks noChangeShapeType="1"/>
          </p:cNvSpPr>
          <p:nvPr/>
        </p:nvSpPr>
        <p:spPr bwMode="auto">
          <a:xfrm>
            <a:off x="3928004" y="4851400"/>
            <a:ext cx="128124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8" name="Line 122"/>
          <p:cNvSpPr>
            <a:spLocks noChangeShapeType="1"/>
          </p:cNvSpPr>
          <p:nvPr/>
        </p:nvSpPr>
        <p:spPr bwMode="auto">
          <a:xfrm>
            <a:off x="3926290" y="5049838"/>
            <a:ext cx="128296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19" name="Line 123"/>
          <p:cNvSpPr>
            <a:spLocks noChangeShapeType="1"/>
          </p:cNvSpPr>
          <p:nvPr/>
        </p:nvSpPr>
        <p:spPr bwMode="auto">
          <a:xfrm>
            <a:off x="5422504" y="465296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0" name="Line 124"/>
          <p:cNvSpPr>
            <a:spLocks noChangeShapeType="1"/>
          </p:cNvSpPr>
          <p:nvPr/>
        </p:nvSpPr>
        <p:spPr bwMode="auto">
          <a:xfrm>
            <a:off x="3928004" y="4652972"/>
            <a:ext cx="0" cy="5984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1" name="Line 125"/>
          <p:cNvSpPr>
            <a:spLocks noChangeShapeType="1"/>
          </p:cNvSpPr>
          <p:nvPr/>
        </p:nvSpPr>
        <p:spPr bwMode="auto">
          <a:xfrm flipH="1">
            <a:off x="5637477" y="4652963"/>
            <a:ext cx="172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2" name="Line 126"/>
          <p:cNvSpPr>
            <a:spLocks noChangeShapeType="1"/>
          </p:cNvSpPr>
          <p:nvPr/>
        </p:nvSpPr>
        <p:spPr bwMode="auto">
          <a:xfrm flipH="1">
            <a:off x="5850731" y="4652963"/>
            <a:ext cx="172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3" name="Line 127"/>
          <p:cNvSpPr>
            <a:spLocks noChangeShapeType="1"/>
          </p:cNvSpPr>
          <p:nvPr/>
        </p:nvSpPr>
        <p:spPr bwMode="auto">
          <a:xfrm>
            <a:off x="6063985" y="465296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4" name="Line 128"/>
          <p:cNvSpPr>
            <a:spLocks noChangeShapeType="1"/>
          </p:cNvSpPr>
          <p:nvPr/>
        </p:nvSpPr>
        <p:spPr bwMode="auto">
          <a:xfrm>
            <a:off x="6278965" y="4652972"/>
            <a:ext cx="1719" cy="5984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5" name="Line 129"/>
          <p:cNvSpPr>
            <a:spLocks noChangeShapeType="1"/>
          </p:cNvSpPr>
          <p:nvPr/>
        </p:nvSpPr>
        <p:spPr bwMode="auto">
          <a:xfrm>
            <a:off x="6490494" y="4652963"/>
            <a:ext cx="0" cy="59531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6" name="Line 130"/>
          <p:cNvSpPr>
            <a:spLocks noChangeShapeType="1"/>
          </p:cNvSpPr>
          <p:nvPr/>
        </p:nvSpPr>
        <p:spPr bwMode="auto">
          <a:xfrm>
            <a:off x="6707188" y="4652963"/>
            <a:ext cx="1720" cy="6032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7" name="Line 131"/>
          <p:cNvSpPr>
            <a:spLocks noChangeShapeType="1"/>
          </p:cNvSpPr>
          <p:nvPr/>
        </p:nvSpPr>
        <p:spPr bwMode="auto">
          <a:xfrm>
            <a:off x="5210969" y="4851400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8" name="Line 132"/>
          <p:cNvSpPr>
            <a:spLocks noChangeShapeType="1"/>
          </p:cNvSpPr>
          <p:nvPr/>
        </p:nvSpPr>
        <p:spPr bwMode="auto">
          <a:xfrm>
            <a:off x="5210969" y="5049838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29" name="Line 133"/>
          <p:cNvSpPr>
            <a:spLocks noChangeShapeType="1"/>
          </p:cNvSpPr>
          <p:nvPr/>
        </p:nvSpPr>
        <p:spPr bwMode="auto">
          <a:xfrm>
            <a:off x="7775179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0" name="Line 134"/>
          <p:cNvSpPr>
            <a:spLocks noChangeShapeType="1"/>
          </p:cNvSpPr>
          <p:nvPr/>
        </p:nvSpPr>
        <p:spPr bwMode="auto">
          <a:xfrm>
            <a:off x="7988433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1" name="Line 135"/>
          <p:cNvSpPr>
            <a:spLocks noChangeShapeType="1"/>
          </p:cNvSpPr>
          <p:nvPr/>
        </p:nvSpPr>
        <p:spPr bwMode="auto">
          <a:xfrm flipV="1">
            <a:off x="6277240" y="127635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2" name="Line 136"/>
          <p:cNvSpPr>
            <a:spLocks noChangeShapeType="1"/>
          </p:cNvSpPr>
          <p:nvPr/>
        </p:nvSpPr>
        <p:spPr bwMode="auto">
          <a:xfrm>
            <a:off x="2861733" y="3063875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3" name="Line 137"/>
          <p:cNvSpPr>
            <a:spLocks noChangeShapeType="1"/>
          </p:cNvSpPr>
          <p:nvPr/>
        </p:nvSpPr>
        <p:spPr bwMode="auto">
          <a:xfrm>
            <a:off x="3288242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4" name="Line 138"/>
          <p:cNvSpPr>
            <a:spLocks noChangeShapeType="1"/>
          </p:cNvSpPr>
          <p:nvPr/>
        </p:nvSpPr>
        <p:spPr bwMode="auto">
          <a:xfrm>
            <a:off x="2861733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5" name="Line 139"/>
          <p:cNvSpPr>
            <a:spLocks noChangeShapeType="1"/>
          </p:cNvSpPr>
          <p:nvPr/>
        </p:nvSpPr>
        <p:spPr bwMode="auto">
          <a:xfrm>
            <a:off x="2861733" y="4652963"/>
            <a:ext cx="2347516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6" name="Line 140"/>
          <p:cNvSpPr>
            <a:spLocks noChangeShapeType="1"/>
          </p:cNvSpPr>
          <p:nvPr/>
        </p:nvSpPr>
        <p:spPr bwMode="auto">
          <a:xfrm>
            <a:off x="2861733" y="4652972"/>
            <a:ext cx="0" cy="3175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7" name="Line 141"/>
          <p:cNvSpPr>
            <a:spLocks noChangeShapeType="1"/>
          </p:cNvSpPr>
          <p:nvPr/>
        </p:nvSpPr>
        <p:spPr bwMode="auto">
          <a:xfrm>
            <a:off x="2861733" y="4652972"/>
            <a:ext cx="0" cy="5937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8" name="Line 142"/>
          <p:cNvSpPr>
            <a:spLocks noChangeShapeType="1"/>
          </p:cNvSpPr>
          <p:nvPr/>
        </p:nvSpPr>
        <p:spPr bwMode="auto">
          <a:xfrm>
            <a:off x="5210969" y="4652963"/>
            <a:ext cx="1720" cy="6143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39" name="Line 143"/>
          <p:cNvSpPr>
            <a:spLocks noChangeShapeType="1"/>
          </p:cNvSpPr>
          <p:nvPr/>
        </p:nvSpPr>
        <p:spPr bwMode="auto">
          <a:xfrm>
            <a:off x="7560204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0" name="Line 144"/>
          <p:cNvSpPr>
            <a:spLocks noChangeShapeType="1"/>
          </p:cNvSpPr>
          <p:nvPr/>
        </p:nvSpPr>
        <p:spPr bwMode="auto">
          <a:xfrm>
            <a:off x="3714750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1" name="Line 145"/>
          <p:cNvSpPr>
            <a:spLocks noChangeShapeType="1"/>
          </p:cNvSpPr>
          <p:nvPr/>
        </p:nvSpPr>
        <p:spPr bwMode="auto">
          <a:xfrm>
            <a:off x="3714750" y="3262313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2" name="Line 146"/>
          <p:cNvSpPr>
            <a:spLocks noChangeShapeType="1"/>
          </p:cNvSpPr>
          <p:nvPr/>
        </p:nvSpPr>
        <p:spPr bwMode="auto">
          <a:xfrm>
            <a:off x="3714750" y="346075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3" name="Line 147"/>
          <p:cNvSpPr>
            <a:spLocks noChangeShapeType="1"/>
          </p:cNvSpPr>
          <p:nvPr/>
        </p:nvSpPr>
        <p:spPr bwMode="auto">
          <a:xfrm>
            <a:off x="3714750" y="366077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4" name="Line 148"/>
          <p:cNvSpPr>
            <a:spLocks noChangeShapeType="1"/>
          </p:cNvSpPr>
          <p:nvPr/>
        </p:nvSpPr>
        <p:spPr bwMode="auto">
          <a:xfrm>
            <a:off x="3714750" y="385762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5" name="Line 149"/>
          <p:cNvSpPr>
            <a:spLocks noChangeShapeType="1"/>
          </p:cNvSpPr>
          <p:nvPr/>
        </p:nvSpPr>
        <p:spPr bwMode="auto">
          <a:xfrm>
            <a:off x="3714750" y="405765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6" name="Line 150"/>
          <p:cNvSpPr>
            <a:spLocks noChangeShapeType="1"/>
          </p:cNvSpPr>
          <p:nvPr/>
        </p:nvSpPr>
        <p:spPr bwMode="auto">
          <a:xfrm>
            <a:off x="3714750" y="4254500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7" name="Line 151"/>
          <p:cNvSpPr>
            <a:spLocks noChangeShapeType="1"/>
          </p:cNvSpPr>
          <p:nvPr/>
        </p:nvSpPr>
        <p:spPr bwMode="auto">
          <a:xfrm>
            <a:off x="3714750" y="4454525"/>
            <a:ext cx="1494500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8" name="Line 152"/>
          <p:cNvSpPr>
            <a:spLocks noChangeShapeType="1"/>
          </p:cNvSpPr>
          <p:nvPr/>
        </p:nvSpPr>
        <p:spPr bwMode="auto">
          <a:xfrm>
            <a:off x="5210969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49" name="Line 153"/>
          <p:cNvSpPr>
            <a:spLocks noChangeShapeType="1"/>
          </p:cNvSpPr>
          <p:nvPr/>
        </p:nvSpPr>
        <p:spPr bwMode="auto">
          <a:xfrm>
            <a:off x="5210969" y="4652963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0" name="Line 154"/>
          <p:cNvSpPr>
            <a:spLocks noChangeShapeType="1"/>
          </p:cNvSpPr>
          <p:nvPr/>
        </p:nvSpPr>
        <p:spPr bwMode="auto">
          <a:xfrm>
            <a:off x="6918722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1" name="Line 155"/>
          <p:cNvSpPr>
            <a:spLocks noChangeShapeType="1"/>
          </p:cNvSpPr>
          <p:nvPr/>
        </p:nvSpPr>
        <p:spPr bwMode="auto">
          <a:xfrm>
            <a:off x="5422504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2" name="Line 156"/>
          <p:cNvSpPr>
            <a:spLocks noChangeShapeType="1"/>
          </p:cNvSpPr>
          <p:nvPr/>
        </p:nvSpPr>
        <p:spPr bwMode="auto">
          <a:xfrm>
            <a:off x="5637477" y="1673234"/>
            <a:ext cx="0" cy="13874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3" name="Line 157"/>
          <p:cNvSpPr>
            <a:spLocks noChangeShapeType="1"/>
          </p:cNvSpPr>
          <p:nvPr/>
        </p:nvSpPr>
        <p:spPr bwMode="auto">
          <a:xfrm>
            <a:off x="5850731" y="1673234"/>
            <a:ext cx="0" cy="13874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4" name="Line 158"/>
          <p:cNvSpPr>
            <a:spLocks noChangeShapeType="1"/>
          </p:cNvSpPr>
          <p:nvPr/>
        </p:nvSpPr>
        <p:spPr bwMode="auto">
          <a:xfrm>
            <a:off x="6063985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5" name="Line 159"/>
          <p:cNvSpPr>
            <a:spLocks noChangeShapeType="1"/>
          </p:cNvSpPr>
          <p:nvPr/>
        </p:nvSpPr>
        <p:spPr bwMode="auto">
          <a:xfrm>
            <a:off x="6277240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6" name="Line 160"/>
          <p:cNvSpPr>
            <a:spLocks noChangeShapeType="1"/>
          </p:cNvSpPr>
          <p:nvPr/>
        </p:nvSpPr>
        <p:spPr bwMode="auto">
          <a:xfrm>
            <a:off x="6490494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7" name="Line 161"/>
          <p:cNvSpPr>
            <a:spLocks noChangeShapeType="1"/>
          </p:cNvSpPr>
          <p:nvPr/>
        </p:nvSpPr>
        <p:spPr bwMode="auto">
          <a:xfrm>
            <a:off x="6703748" y="1673225"/>
            <a:ext cx="0" cy="13843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8" name="Line 162"/>
          <p:cNvSpPr>
            <a:spLocks noChangeShapeType="1"/>
          </p:cNvSpPr>
          <p:nvPr/>
        </p:nvSpPr>
        <p:spPr bwMode="auto">
          <a:xfrm>
            <a:off x="5210969" y="1673225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59" name="Line 163"/>
          <p:cNvSpPr>
            <a:spLocks noChangeShapeType="1"/>
          </p:cNvSpPr>
          <p:nvPr/>
        </p:nvSpPr>
        <p:spPr bwMode="auto">
          <a:xfrm>
            <a:off x="5210974" y="3063875"/>
            <a:ext cx="234923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60" name="Line 164"/>
          <p:cNvSpPr>
            <a:spLocks noChangeShapeType="1"/>
          </p:cNvSpPr>
          <p:nvPr/>
        </p:nvSpPr>
        <p:spPr bwMode="auto">
          <a:xfrm flipV="1">
            <a:off x="5210969" y="1679575"/>
            <a:ext cx="0" cy="13843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61" name="Line 165"/>
          <p:cNvSpPr>
            <a:spLocks noChangeShapeType="1"/>
          </p:cNvSpPr>
          <p:nvPr/>
        </p:nvSpPr>
        <p:spPr bwMode="auto">
          <a:xfrm>
            <a:off x="6918722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62" name="Rectangle 166"/>
          <p:cNvSpPr>
            <a:spLocks noChangeArrowheads="1"/>
          </p:cNvSpPr>
          <p:nvPr/>
        </p:nvSpPr>
        <p:spPr bwMode="auto">
          <a:xfrm rot="16200000">
            <a:off x="2345532" y="3687011"/>
            <a:ext cx="1500188" cy="425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Requirements</a:t>
            </a:r>
          </a:p>
        </p:txBody>
      </p:sp>
      <p:sp>
        <p:nvSpPr>
          <p:cNvPr id="55463" name="Line 167"/>
          <p:cNvSpPr>
            <a:spLocks noChangeShapeType="1"/>
          </p:cNvSpPr>
          <p:nvPr/>
        </p:nvSpPr>
        <p:spPr bwMode="auto">
          <a:xfrm>
            <a:off x="6918722" y="4652972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64" name="Rectangle 168"/>
          <p:cNvSpPr>
            <a:spLocks noChangeArrowheads="1"/>
          </p:cNvSpPr>
          <p:nvPr/>
        </p:nvSpPr>
        <p:spPr bwMode="auto">
          <a:xfrm rot="16200000">
            <a:off x="8209100" y="3567755"/>
            <a:ext cx="1457325" cy="563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8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oritized Customer</a:t>
            </a:r>
          </a:p>
          <a:p>
            <a:pPr algn="ctr" eaLnBrk="0" latinLnBrk="0" hangingPunct="0">
              <a:lnSpc>
                <a:spcPct val="8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55465" name="Line 169"/>
          <p:cNvSpPr>
            <a:spLocks noChangeShapeType="1"/>
          </p:cNvSpPr>
          <p:nvPr/>
        </p:nvSpPr>
        <p:spPr bwMode="auto">
          <a:xfrm>
            <a:off x="6918726" y="6440488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66" name="Line 170"/>
          <p:cNvSpPr>
            <a:spLocks noChangeShapeType="1"/>
          </p:cNvSpPr>
          <p:nvPr/>
        </p:nvSpPr>
        <p:spPr bwMode="auto">
          <a:xfrm flipV="1">
            <a:off x="5210969" y="127635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67" name="Line 171"/>
          <p:cNvSpPr>
            <a:spLocks noChangeShapeType="1"/>
          </p:cNvSpPr>
          <p:nvPr/>
        </p:nvSpPr>
        <p:spPr bwMode="auto">
          <a:xfrm>
            <a:off x="6918722" y="1276359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68" name="Line 172"/>
          <p:cNvSpPr>
            <a:spLocks noChangeShapeType="1"/>
          </p:cNvSpPr>
          <p:nvPr/>
        </p:nvSpPr>
        <p:spPr bwMode="auto">
          <a:xfrm>
            <a:off x="5210969" y="1276350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69" name="Rectangle 173"/>
          <p:cNvSpPr>
            <a:spLocks noChangeArrowheads="1"/>
          </p:cNvSpPr>
          <p:nvPr/>
        </p:nvSpPr>
        <p:spPr bwMode="auto">
          <a:xfrm>
            <a:off x="5238485" y="887422"/>
            <a:ext cx="165100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9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</p:txBody>
      </p:sp>
      <p:sp>
        <p:nvSpPr>
          <p:cNvPr id="55470" name="Line 174"/>
          <p:cNvSpPr>
            <a:spLocks noChangeShapeType="1"/>
          </p:cNvSpPr>
          <p:nvPr/>
        </p:nvSpPr>
        <p:spPr bwMode="auto">
          <a:xfrm>
            <a:off x="7560205" y="3063875"/>
            <a:ext cx="63976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71" name="Line 175"/>
          <p:cNvSpPr>
            <a:spLocks noChangeShapeType="1"/>
          </p:cNvSpPr>
          <p:nvPr/>
        </p:nvSpPr>
        <p:spPr bwMode="auto">
          <a:xfrm>
            <a:off x="7560205" y="4652963"/>
            <a:ext cx="63976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72" name="Line 176"/>
          <p:cNvSpPr>
            <a:spLocks noChangeShapeType="1"/>
          </p:cNvSpPr>
          <p:nvPr/>
        </p:nvSpPr>
        <p:spPr bwMode="auto">
          <a:xfrm flipV="1">
            <a:off x="3713031" y="1673225"/>
            <a:ext cx="0" cy="13906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73" name="Line 177"/>
          <p:cNvSpPr>
            <a:spLocks noChangeShapeType="1"/>
          </p:cNvSpPr>
          <p:nvPr/>
        </p:nvSpPr>
        <p:spPr bwMode="auto">
          <a:xfrm flipV="1">
            <a:off x="3286522" y="1276359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74" name="Line 178"/>
          <p:cNvSpPr>
            <a:spLocks noChangeShapeType="1"/>
          </p:cNvSpPr>
          <p:nvPr/>
        </p:nvSpPr>
        <p:spPr bwMode="auto">
          <a:xfrm>
            <a:off x="3713036" y="1673225"/>
            <a:ext cx="149621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75" name="Line 179"/>
          <p:cNvSpPr>
            <a:spLocks noChangeShapeType="1"/>
          </p:cNvSpPr>
          <p:nvPr/>
        </p:nvSpPr>
        <p:spPr bwMode="auto">
          <a:xfrm>
            <a:off x="3286527" y="1276359"/>
            <a:ext cx="1922727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76" name="Rectangle 180"/>
          <p:cNvSpPr>
            <a:spLocks noChangeArrowheads="1"/>
          </p:cNvSpPr>
          <p:nvPr/>
        </p:nvSpPr>
        <p:spPr bwMode="auto">
          <a:xfrm>
            <a:off x="4406157" y="1331922"/>
            <a:ext cx="756617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55477" name="Rectangle 181"/>
          <p:cNvSpPr>
            <a:spLocks noChangeArrowheads="1"/>
          </p:cNvSpPr>
          <p:nvPr/>
        </p:nvSpPr>
        <p:spPr bwMode="auto">
          <a:xfrm rot="16200000">
            <a:off x="3099975" y="2547235"/>
            <a:ext cx="756617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imary</a:t>
            </a:r>
          </a:p>
        </p:txBody>
      </p:sp>
      <p:sp>
        <p:nvSpPr>
          <p:cNvPr id="55478" name="Rectangle 182"/>
          <p:cNvSpPr>
            <a:spLocks noChangeArrowheads="1"/>
          </p:cNvSpPr>
          <p:nvPr/>
        </p:nvSpPr>
        <p:spPr bwMode="auto">
          <a:xfrm rot="16200000">
            <a:off x="3463792" y="2432141"/>
            <a:ext cx="971420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55479" name="Rectangle 183"/>
          <p:cNvSpPr>
            <a:spLocks noChangeArrowheads="1"/>
          </p:cNvSpPr>
          <p:nvPr/>
        </p:nvSpPr>
        <p:spPr bwMode="auto">
          <a:xfrm>
            <a:off x="4168906" y="1778004"/>
            <a:ext cx="971420" cy="27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econdary</a:t>
            </a:r>
          </a:p>
        </p:txBody>
      </p:sp>
      <p:sp>
        <p:nvSpPr>
          <p:cNvPr id="55480" name="Rectangle 184"/>
          <p:cNvSpPr>
            <a:spLocks noChangeArrowheads="1"/>
          </p:cNvSpPr>
          <p:nvPr/>
        </p:nvSpPr>
        <p:spPr bwMode="auto">
          <a:xfrm>
            <a:off x="2850655" y="4673609"/>
            <a:ext cx="1088438" cy="53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55481" name="Rectangle 185"/>
          <p:cNvSpPr>
            <a:spLocks noChangeArrowheads="1"/>
          </p:cNvSpPr>
          <p:nvPr/>
        </p:nvSpPr>
        <p:spPr bwMode="auto">
          <a:xfrm rot="16200000">
            <a:off x="6689226" y="5662818"/>
            <a:ext cx="1088438" cy="536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ompetitive</a:t>
            </a:r>
          </a:p>
          <a:p>
            <a:pPr algn="ctr" eaLnBrk="0" latinLnBrk="0" hangingPunct="0">
              <a:lnSpc>
                <a:spcPct val="8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ssessment</a:t>
            </a:r>
          </a:p>
        </p:txBody>
      </p:sp>
      <p:sp>
        <p:nvSpPr>
          <p:cNvPr id="55482" name="Line 186"/>
          <p:cNvSpPr>
            <a:spLocks noChangeShapeType="1"/>
          </p:cNvSpPr>
          <p:nvPr/>
        </p:nvSpPr>
        <p:spPr bwMode="auto">
          <a:xfrm>
            <a:off x="7133696" y="4652963"/>
            <a:ext cx="0" cy="7937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83" name="Line 187"/>
          <p:cNvSpPr>
            <a:spLocks noChangeShapeType="1"/>
          </p:cNvSpPr>
          <p:nvPr/>
        </p:nvSpPr>
        <p:spPr bwMode="auto">
          <a:xfrm>
            <a:off x="7346950" y="4652963"/>
            <a:ext cx="0" cy="7937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84" name="Line 188"/>
          <p:cNvSpPr>
            <a:spLocks noChangeShapeType="1"/>
          </p:cNvSpPr>
          <p:nvPr/>
        </p:nvSpPr>
        <p:spPr bwMode="auto">
          <a:xfrm>
            <a:off x="7560204" y="4652972"/>
            <a:ext cx="0" cy="178752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85" name="Line 189"/>
          <p:cNvSpPr>
            <a:spLocks noChangeShapeType="1"/>
          </p:cNvSpPr>
          <p:nvPr/>
        </p:nvSpPr>
        <p:spPr bwMode="auto">
          <a:xfrm>
            <a:off x="7560204" y="6440488"/>
            <a:ext cx="641483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86" name="Line 190"/>
          <p:cNvSpPr>
            <a:spLocks noChangeShapeType="1"/>
          </p:cNvSpPr>
          <p:nvPr/>
        </p:nvSpPr>
        <p:spPr bwMode="auto">
          <a:xfrm>
            <a:off x="6918726" y="5446713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87" name="Rectangle 191"/>
          <p:cNvSpPr>
            <a:spLocks noChangeArrowheads="1"/>
          </p:cNvSpPr>
          <p:nvPr/>
        </p:nvSpPr>
        <p:spPr bwMode="auto">
          <a:xfrm>
            <a:off x="3903928" y="4629150"/>
            <a:ext cx="593329" cy="668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sp>
        <p:nvSpPr>
          <p:cNvPr id="55488" name="Line 192"/>
          <p:cNvSpPr>
            <a:spLocks noChangeShapeType="1"/>
          </p:cNvSpPr>
          <p:nvPr/>
        </p:nvSpPr>
        <p:spPr bwMode="auto">
          <a:xfrm>
            <a:off x="8628195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89" name="Line 193"/>
          <p:cNvSpPr>
            <a:spLocks noChangeShapeType="1"/>
          </p:cNvSpPr>
          <p:nvPr/>
        </p:nvSpPr>
        <p:spPr bwMode="auto">
          <a:xfrm>
            <a:off x="8628195" y="4652963"/>
            <a:ext cx="0" cy="1782762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0" name="Line 194"/>
          <p:cNvSpPr>
            <a:spLocks noChangeShapeType="1"/>
          </p:cNvSpPr>
          <p:nvPr/>
        </p:nvSpPr>
        <p:spPr bwMode="auto">
          <a:xfrm flipH="1">
            <a:off x="8199971" y="6440488"/>
            <a:ext cx="42822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1" name="Line 195"/>
          <p:cNvSpPr>
            <a:spLocks noChangeShapeType="1"/>
          </p:cNvSpPr>
          <p:nvPr/>
        </p:nvSpPr>
        <p:spPr bwMode="auto">
          <a:xfrm flipV="1">
            <a:off x="8199971" y="3062297"/>
            <a:ext cx="1019837" cy="1587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2" name="Line 196"/>
          <p:cNvSpPr>
            <a:spLocks noChangeShapeType="1"/>
          </p:cNvSpPr>
          <p:nvPr/>
        </p:nvSpPr>
        <p:spPr bwMode="auto">
          <a:xfrm>
            <a:off x="8199971" y="4652963"/>
            <a:ext cx="428229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3" name="Line 197"/>
          <p:cNvSpPr>
            <a:spLocks noChangeShapeType="1"/>
          </p:cNvSpPr>
          <p:nvPr/>
        </p:nvSpPr>
        <p:spPr bwMode="auto">
          <a:xfrm>
            <a:off x="8609282" y="4652963"/>
            <a:ext cx="610527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4" name="Line 198"/>
          <p:cNvSpPr>
            <a:spLocks noChangeShapeType="1"/>
          </p:cNvSpPr>
          <p:nvPr/>
        </p:nvSpPr>
        <p:spPr bwMode="auto">
          <a:xfrm>
            <a:off x="7560204" y="3262313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5" name="Line 199"/>
          <p:cNvSpPr>
            <a:spLocks noChangeShapeType="1"/>
          </p:cNvSpPr>
          <p:nvPr/>
        </p:nvSpPr>
        <p:spPr bwMode="auto">
          <a:xfrm>
            <a:off x="7560204" y="385762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6" name="Line 200"/>
          <p:cNvSpPr>
            <a:spLocks noChangeShapeType="1"/>
          </p:cNvSpPr>
          <p:nvPr/>
        </p:nvSpPr>
        <p:spPr bwMode="auto">
          <a:xfrm>
            <a:off x="7560204" y="405765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7" name="Line 201"/>
          <p:cNvSpPr>
            <a:spLocks noChangeShapeType="1"/>
          </p:cNvSpPr>
          <p:nvPr/>
        </p:nvSpPr>
        <p:spPr bwMode="auto">
          <a:xfrm>
            <a:off x="7560204" y="425450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8" name="Line 202"/>
          <p:cNvSpPr>
            <a:spLocks noChangeShapeType="1"/>
          </p:cNvSpPr>
          <p:nvPr/>
        </p:nvSpPr>
        <p:spPr bwMode="auto">
          <a:xfrm>
            <a:off x="7560204" y="445452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499" name="Line 203"/>
          <p:cNvSpPr>
            <a:spLocks noChangeShapeType="1"/>
          </p:cNvSpPr>
          <p:nvPr/>
        </p:nvSpPr>
        <p:spPr bwMode="auto">
          <a:xfrm>
            <a:off x="7560204" y="3460750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0" name="Line 204"/>
          <p:cNvSpPr>
            <a:spLocks noChangeShapeType="1"/>
          </p:cNvSpPr>
          <p:nvPr/>
        </p:nvSpPr>
        <p:spPr bwMode="auto">
          <a:xfrm>
            <a:off x="7560204" y="3660775"/>
            <a:ext cx="1067991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1" name="Line 205"/>
          <p:cNvSpPr>
            <a:spLocks noChangeShapeType="1"/>
          </p:cNvSpPr>
          <p:nvPr/>
        </p:nvSpPr>
        <p:spPr bwMode="auto">
          <a:xfrm>
            <a:off x="5637477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2" name="Rectangle 206"/>
          <p:cNvSpPr>
            <a:spLocks noChangeArrowheads="1"/>
          </p:cNvSpPr>
          <p:nvPr/>
        </p:nvSpPr>
        <p:spPr bwMode="auto">
          <a:xfrm rot="16200000">
            <a:off x="7219885" y="5026606"/>
            <a:ext cx="1758950" cy="1062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 Importance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arget Value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cale-up Facto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Sales Point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bsolute Weight</a:t>
            </a:r>
          </a:p>
        </p:txBody>
      </p:sp>
      <p:sp>
        <p:nvSpPr>
          <p:cNvPr id="55503" name="Line 207"/>
          <p:cNvSpPr>
            <a:spLocks noChangeShapeType="1"/>
          </p:cNvSpPr>
          <p:nvPr/>
        </p:nvSpPr>
        <p:spPr bwMode="auto">
          <a:xfrm>
            <a:off x="8414941" y="306388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4" name="Line 208"/>
          <p:cNvSpPr>
            <a:spLocks noChangeShapeType="1"/>
          </p:cNvSpPr>
          <p:nvPr/>
        </p:nvSpPr>
        <p:spPr bwMode="auto">
          <a:xfrm>
            <a:off x="2860014" y="5248275"/>
            <a:ext cx="405870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5" name="Line 209"/>
          <p:cNvSpPr>
            <a:spLocks noChangeShapeType="1"/>
          </p:cNvSpPr>
          <p:nvPr/>
        </p:nvSpPr>
        <p:spPr bwMode="auto">
          <a:xfrm>
            <a:off x="9223243" y="3063875"/>
            <a:ext cx="0" cy="1589088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6" name="Line 210"/>
          <p:cNvSpPr>
            <a:spLocks noChangeShapeType="1"/>
          </p:cNvSpPr>
          <p:nvPr/>
        </p:nvSpPr>
        <p:spPr bwMode="auto">
          <a:xfrm>
            <a:off x="6918722" y="879484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7" name="Line 211"/>
          <p:cNvSpPr>
            <a:spLocks noChangeShapeType="1"/>
          </p:cNvSpPr>
          <p:nvPr/>
        </p:nvSpPr>
        <p:spPr bwMode="auto">
          <a:xfrm>
            <a:off x="7773458" y="3063875"/>
            <a:ext cx="0" cy="337185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8" name="Line 212"/>
          <p:cNvSpPr>
            <a:spLocks noChangeShapeType="1"/>
          </p:cNvSpPr>
          <p:nvPr/>
        </p:nvSpPr>
        <p:spPr bwMode="auto">
          <a:xfrm>
            <a:off x="7986713" y="306388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09" name="Line 213"/>
          <p:cNvSpPr>
            <a:spLocks noChangeShapeType="1"/>
          </p:cNvSpPr>
          <p:nvPr/>
        </p:nvSpPr>
        <p:spPr bwMode="auto">
          <a:xfrm>
            <a:off x="8199967" y="3063884"/>
            <a:ext cx="0" cy="33686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55530" name="Group 234"/>
          <p:cNvGrpSpPr>
            <a:grpSpLocks/>
          </p:cNvGrpSpPr>
          <p:nvPr/>
        </p:nvGrpSpPr>
        <p:grpSpPr bwMode="auto">
          <a:xfrm>
            <a:off x="5260848" y="3114683"/>
            <a:ext cx="1604565" cy="1285875"/>
            <a:chOff x="3059" y="1962"/>
            <a:chExt cx="933" cy="810"/>
          </a:xfrm>
        </p:grpSpPr>
        <p:sp>
          <p:nvSpPr>
            <p:cNvPr id="55510" name="Oval 214"/>
            <p:cNvSpPr>
              <a:spLocks noChangeArrowheads="1"/>
            </p:cNvSpPr>
            <p:nvPr/>
          </p:nvSpPr>
          <p:spPr bwMode="auto">
            <a:xfrm>
              <a:off x="3064" y="2341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1" name="Oval 215"/>
            <p:cNvSpPr>
              <a:spLocks noChangeArrowheads="1"/>
            </p:cNvSpPr>
            <p:nvPr/>
          </p:nvSpPr>
          <p:spPr bwMode="auto">
            <a:xfrm>
              <a:off x="3080" y="2356"/>
              <a:ext cx="23" cy="2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2" name="Oval 216"/>
            <p:cNvSpPr>
              <a:spLocks noChangeArrowheads="1"/>
            </p:cNvSpPr>
            <p:nvPr/>
          </p:nvSpPr>
          <p:spPr bwMode="auto">
            <a:xfrm>
              <a:off x="3193" y="2091"/>
              <a:ext cx="54" cy="5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3" name="AutoShape 217"/>
            <p:cNvSpPr>
              <a:spLocks noChangeArrowheads="1"/>
            </p:cNvSpPr>
            <p:nvPr/>
          </p:nvSpPr>
          <p:spPr bwMode="auto">
            <a:xfrm>
              <a:off x="3680" y="2086"/>
              <a:ext cx="54" cy="55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4" name="Oval 218"/>
            <p:cNvSpPr>
              <a:spLocks noChangeArrowheads="1"/>
            </p:cNvSpPr>
            <p:nvPr/>
          </p:nvSpPr>
          <p:spPr bwMode="auto">
            <a:xfrm>
              <a:off x="3437" y="1965"/>
              <a:ext cx="54" cy="5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5" name="Oval 219"/>
            <p:cNvSpPr>
              <a:spLocks noChangeArrowheads="1"/>
            </p:cNvSpPr>
            <p:nvPr/>
          </p:nvSpPr>
          <p:spPr bwMode="auto">
            <a:xfrm>
              <a:off x="3452" y="1980"/>
              <a:ext cx="23" cy="2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6" name="Oval 220"/>
            <p:cNvSpPr>
              <a:spLocks noChangeArrowheads="1"/>
            </p:cNvSpPr>
            <p:nvPr/>
          </p:nvSpPr>
          <p:spPr bwMode="auto">
            <a:xfrm>
              <a:off x="3561" y="2341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7" name="Oval 221"/>
            <p:cNvSpPr>
              <a:spLocks noChangeArrowheads="1"/>
            </p:cNvSpPr>
            <p:nvPr/>
          </p:nvSpPr>
          <p:spPr bwMode="auto">
            <a:xfrm>
              <a:off x="3576" y="2356"/>
              <a:ext cx="24" cy="2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8" name="Oval 222"/>
            <p:cNvSpPr>
              <a:spLocks noChangeArrowheads="1"/>
            </p:cNvSpPr>
            <p:nvPr/>
          </p:nvSpPr>
          <p:spPr bwMode="auto">
            <a:xfrm>
              <a:off x="3313" y="2465"/>
              <a:ext cx="54" cy="5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19" name="Oval 223"/>
            <p:cNvSpPr>
              <a:spLocks noChangeArrowheads="1"/>
            </p:cNvSpPr>
            <p:nvPr/>
          </p:nvSpPr>
          <p:spPr bwMode="auto">
            <a:xfrm>
              <a:off x="3328" y="2481"/>
              <a:ext cx="23" cy="2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0" name="Oval 224"/>
            <p:cNvSpPr>
              <a:spLocks noChangeArrowheads="1"/>
            </p:cNvSpPr>
            <p:nvPr/>
          </p:nvSpPr>
          <p:spPr bwMode="auto">
            <a:xfrm>
              <a:off x="3933" y="2715"/>
              <a:ext cx="54" cy="56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1" name="Oval 225"/>
            <p:cNvSpPr>
              <a:spLocks noChangeArrowheads="1"/>
            </p:cNvSpPr>
            <p:nvPr/>
          </p:nvSpPr>
          <p:spPr bwMode="auto">
            <a:xfrm>
              <a:off x="3949" y="2732"/>
              <a:ext cx="23" cy="2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2" name="Oval 226"/>
            <p:cNvSpPr>
              <a:spLocks noChangeArrowheads="1"/>
            </p:cNvSpPr>
            <p:nvPr/>
          </p:nvSpPr>
          <p:spPr bwMode="auto">
            <a:xfrm>
              <a:off x="3441" y="2342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3" name="Oval 227"/>
            <p:cNvSpPr>
              <a:spLocks noChangeArrowheads="1"/>
            </p:cNvSpPr>
            <p:nvPr/>
          </p:nvSpPr>
          <p:spPr bwMode="auto">
            <a:xfrm>
              <a:off x="3938" y="2467"/>
              <a:ext cx="54" cy="55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4" name="Oval 228"/>
            <p:cNvSpPr>
              <a:spLocks noChangeArrowheads="1"/>
            </p:cNvSpPr>
            <p:nvPr/>
          </p:nvSpPr>
          <p:spPr bwMode="auto">
            <a:xfrm>
              <a:off x="3317" y="2718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5" name="Oval 229"/>
            <p:cNvSpPr>
              <a:spLocks noChangeArrowheads="1"/>
            </p:cNvSpPr>
            <p:nvPr/>
          </p:nvSpPr>
          <p:spPr bwMode="auto">
            <a:xfrm>
              <a:off x="3813" y="2718"/>
              <a:ext cx="54" cy="5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6" name="AutoShape 230"/>
            <p:cNvSpPr>
              <a:spLocks noChangeArrowheads="1"/>
            </p:cNvSpPr>
            <p:nvPr/>
          </p:nvSpPr>
          <p:spPr bwMode="auto">
            <a:xfrm>
              <a:off x="3059" y="1962"/>
              <a:ext cx="54" cy="5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7" name="AutoShape 231"/>
            <p:cNvSpPr>
              <a:spLocks noChangeArrowheads="1"/>
            </p:cNvSpPr>
            <p:nvPr/>
          </p:nvSpPr>
          <p:spPr bwMode="auto">
            <a:xfrm>
              <a:off x="3928" y="2336"/>
              <a:ext cx="54" cy="55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8" name="AutoShape 232"/>
            <p:cNvSpPr>
              <a:spLocks noChangeArrowheads="1"/>
            </p:cNvSpPr>
            <p:nvPr/>
          </p:nvSpPr>
          <p:spPr bwMode="auto">
            <a:xfrm>
              <a:off x="3804" y="2462"/>
              <a:ext cx="54" cy="5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29" name="AutoShape 233"/>
            <p:cNvSpPr>
              <a:spLocks noChangeArrowheads="1"/>
            </p:cNvSpPr>
            <p:nvPr/>
          </p:nvSpPr>
          <p:spPr bwMode="auto">
            <a:xfrm>
              <a:off x="3183" y="2587"/>
              <a:ext cx="54" cy="5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55533" name="Group 237"/>
          <p:cNvGrpSpPr>
            <a:grpSpLocks/>
          </p:cNvGrpSpPr>
          <p:nvPr/>
        </p:nvGrpSpPr>
        <p:grpSpPr bwMode="auto">
          <a:xfrm>
            <a:off x="5178308" y="4618039"/>
            <a:ext cx="1755911" cy="277812"/>
            <a:chOff x="3011" y="2909"/>
            <a:chExt cx="1021" cy="175"/>
          </a:xfrm>
        </p:grpSpPr>
        <p:sp>
          <p:nvSpPr>
            <p:cNvPr id="55531" name="Rectangle 235"/>
            <p:cNvSpPr>
              <a:spLocks noChangeArrowheads="1"/>
            </p:cNvSpPr>
            <p:nvPr/>
          </p:nvSpPr>
          <p:spPr bwMode="auto">
            <a:xfrm>
              <a:off x="3011" y="2909"/>
              <a:ext cx="532" cy="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1   3   4   2</a:t>
              </a:r>
            </a:p>
          </p:txBody>
        </p:sp>
        <p:sp>
          <p:nvSpPr>
            <p:cNvPr id="55532" name="Rectangle 236"/>
            <p:cNvSpPr>
              <a:spLocks noChangeArrowheads="1"/>
            </p:cNvSpPr>
            <p:nvPr/>
          </p:nvSpPr>
          <p:spPr bwMode="auto">
            <a:xfrm>
              <a:off x="3500" y="2909"/>
              <a:ext cx="532" cy="1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1   2   1   4</a:t>
              </a:r>
            </a:p>
          </p:txBody>
        </p:sp>
      </p:grpSp>
      <p:sp>
        <p:nvSpPr>
          <p:cNvPr id="55534" name="Rectangle 238"/>
          <p:cNvSpPr>
            <a:spLocks noChangeArrowheads="1"/>
          </p:cNvSpPr>
          <p:nvPr/>
        </p:nvSpPr>
        <p:spPr bwMode="auto">
          <a:xfrm>
            <a:off x="6890756" y="3005144"/>
            <a:ext cx="270907" cy="1718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</p:txBody>
      </p:sp>
      <p:sp>
        <p:nvSpPr>
          <p:cNvPr id="55535" name="Rectangle 239"/>
          <p:cNvSpPr>
            <a:spLocks noChangeArrowheads="1"/>
          </p:cNvSpPr>
          <p:nvPr/>
        </p:nvSpPr>
        <p:spPr bwMode="auto">
          <a:xfrm>
            <a:off x="7745492" y="3005144"/>
            <a:ext cx="270907" cy="1718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5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2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  <a:p>
            <a:pPr algn="ctr" eaLnBrk="0" latinLnBrk="0" hangingPunct="0">
              <a:lnSpc>
                <a:spcPct val="110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4</a:t>
            </a:r>
          </a:p>
        </p:txBody>
      </p:sp>
      <p:sp>
        <p:nvSpPr>
          <p:cNvPr id="55536" name="Rectangle 240"/>
          <p:cNvSpPr>
            <a:spLocks noChangeArrowheads="1"/>
          </p:cNvSpPr>
          <p:nvPr/>
        </p:nvSpPr>
        <p:spPr bwMode="auto">
          <a:xfrm>
            <a:off x="7818173" y="3611564"/>
            <a:ext cx="534856" cy="477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125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5</a:t>
            </a:r>
          </a:p>
          <a:p>
            <a:pPr algn="ctr" eaLnBrk="0" latinLnBrk="0" hangingPunct="0">
              <a:lnSpc>
                <a:spcPct val="125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</p:txBody>
      </p:sp>
      <p:sp>
        <p:nvSpPr>
          <p:cNvPr id="55537" name="Rectangle 241"/>
          <p:cNvSpPr>
            <a:spLocks noChangeArrowheads="1"/>
          </p:cNvSpPr>
          <p:nvPr/>
        </p:nvSpPr>
        <p:spPr bwMode="auto">
          <a:xfrm>
            <a:off x="8007350" y="3038481"/>
            <a:ext cx="617406" cy="165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2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5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5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.5</a:t>
            </a:r>
          </a:p>
          <a:p>
            <a:pPr algn="ctr" eaLnBrk="0" latinLnBrk="0" hangingPunct="0">
              <a:lnSpc>
                <a:spcPct val="128000"/>
              </a:lnSpc>
            </a:pPr>
            <a:r>
              <a:rPr kumimoji="0" lang="en-US" altLang="ko-KR" sz="10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</a:t>
            </a:r>
          </a:p>
        </p:txBody>
      </p:sp>
      <p:sp>
        <p:nvSpPr>
          <p:cNvPr id="55538" name="Rectangle 242"/>
          <p:cNvSpPr>
            <a:spLocks noChangeArrowheads="1"/>
          </p:cNvSpPr>
          <p:nvPr/>
        </p:nvSpPr>
        <p:spPr bwMode="auto">
          <a:xfrm>
            <a:off x="8212006" y="3579813"/>
            <a:ext cx="626004" cy="554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algn="ctr" eaLnBrk="0" latinLnBrk="0" hangingPunct="0">
              <a:lnSpc>
                <a:spcPct val="12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15</a:t>
            </a:r>
          </a:p>
          <a:p>
            <a:pPr algn="ctr" eaLnBrk="0" latinLnBrk="0" hangingPunct="0">
              <a:lnSpc>
                <a:spcPct val="12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3</a:t>
            </a:r>
          </a:p>
        </p:txBody>
      </p:sp>
      <p:sp>
        <p:nvSpPr>
          <p:cNvPr id="55539" name="Line 243"/>
          <p:cNvSpPr>
            <a:spLocks noChangeShapeType="1"/>
          </p:cNvSpPr>
          <p:nvPr/>
        </p:nvSpPr>
        <p:spPr bwMode="auto">
          <a:xfrm>
            <a:off x="6918726" y="4652963"/>
            <a:ext cx="641482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40" name="Line 244"/>
          <p:cNvSpPr>
            <a:spLocks noChangeShapeType="1"/>
          </p:cNvSpPr>
          <p:nvPr/>
        </p:nvSpPr>
        <p:spPr bwMode="auto">
          <a:xfrm>
            <a:off x="5210969" y="879475"/>
            <a:ext cx="1704314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41" name="Line 245"/>
          <p:cNvSpPr>
            <a:spLocks noChangeShapeType="1"/>
          </p:cNvSpPr>
          <p:nvPr/>
        </p:nvSpPr>
        <p:spPr bwMode="auto">
          <a:xfrm>
            <a:off x="3286522" y="1276350"/>
            <a:ext cx="191928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42" name="Line 246"/>
          <p:cNvSpPr>
            <a:spLocks noChangeShapeType="1"/>
          </p:cNvSpPr>
          <p:nvPr/>
        </p:nvSpPr>
        <p:spPr bwMode="auto">
          <a:xfrm flipV="1">
            <a:off x="5210969" y="879484"/>
            <a:ext cx="0" cy="396875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5543" name="Rectangle 247"/>
          <p:cNvSpPr>
            <a:spLocks noChangeArrowheads="1"/>
          </p:cNvSpPr>
          <p:nvPr/>
        </p:nvSpPr>
        <p:spPr bwMode="auto">
          <a:xfrm rot="16200000">
            <a:off x="6979378" y="4730761"/>
            <a:ext cx="547688" cy="674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/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ur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A’s</a:t>
            </a:r>
          </a:p>
          <a:p>
            <a:pPr eaLnBrk="0" latinLnBrk="0" hangingPunct="0">
              <a:lnSpc>
                <a:spcPct val="105000"/>
              </a:lnSpc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B’s</a:t>
            </a:r>
          </a:p>
        </p:txBody>
      </p:sp>
      <p:grpSp>
        <p:nvGrpSpPr>
          <p:cNvPr id="55557" name="Group 261"/>
          <p:cNvGrpSpPr>
            <a:grpSpLocks/>
          </p:cNvGrpSpPr>
          <p:nvPr/>
        </p:nvGrpSpPr>
        <p:grpSpPr bwMode="auto">
          <a:xfrm>
            <a:off x="6812100" y="676275"/>
            <a:ext cx="3035432" cy="2192338"/>
            <a:chOff x="3961" y="426"/>
            <a:chExt cx="1765" cy="1381"/>
          </a:xfrm>
        </p:grpSpPr>
        <p:sp>
          <p:nvSpPr>
            <p:cNvPr id="55544" name="Rectangle 248"/>
            <p:cNvSpPr>
              <a:spLocks noChangeArrowheads="1"/>
            </p:cNvSpPr>
            <p:nvPr/>
          </p:nvSpPr>
          <p:spPr bwMode="auto">
            <a:xfrm>
              <a:off x="3961" y="426"/>
              <a:ext cx="1765" cy="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Relationship between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Customer Requirements and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Technical Descriptors</a:t>
              </a:r>
            </a:p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HATs vs. HOWs</a:t>
              </a:r>
            </a:p>
          </p:txBody>
        </p:sp>
        <p:sp>
          <p:nvSpPr>
            <p:cNvPr id="55545" name="Rectangle 249"/>
            <p:cNvSpPr>
              <a:spLocks noChangeArrowheads="1"/>
            </p:cNvSpPr>
            <p:nvPr/>
          </p:nvSpPr>
          <p:spPr bwMode="auto">
            <a:xfrm>
              <a:off x="4779" y="1321"/>
              <a:ext cx="444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</a:t>
              </a:r>
            </a:p>
          </p:txBody>
        </p:sp>
        <p:sp>
          <p:nvSpPr>
            <p:cNvPr id="55546" name="Rectangle 250"/>
            <p:cNvSpPr>
              <a:spLocks noChangeArrowheads="1"/>
            </p:cNvSpPr>
            <p:nvPr/>
          </p:nvSpPr>
          <p:spPr bwMode="auto">
            <a:xfrm>
              <a:off x="4777" y="1464"/>
              <a:ext cx="501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Medium</a:t>
              </a:r>
            </a:p>
          </p:txBody>
        </p:sp>
        <p:sp>
          <p:nvSpPr>
            <p:cNvPr id="55547" name="Rectangle 251"/>
            <p:cNvSpPr>
              <a:spLocks noChangeArrowheads="1"/>
            </p:cNvSpPr>
            <p:nvPr/>
          </p:nvSpPr>
          <p:spPr bwMode="auto">
            <a:xfrm>
              <a:off x="4777" y="1616"/>
              <a:ext cx="378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eak</a:t>
              </a:r>
            </a:p>
          </p:txBody>
        </p:sp>
        <p:sp>
          <p:nvSpPr>
            <p:cNvPr id="55548" name="Oval 252"/>
            <p:cNvSpPr>
              <a:spLocks noChangeArrowheads="1"/>
            </p:cNvSpPr>
            <p:nvPr/>
          </p:nvSpPr>
          <p:spPr bwMode="auto">
            <a:xfrm>
              <a:off x="4701" y="1482"/>
              <a:ext cx="60" cy="63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55551" name="Group 255"/>
            <p:cNvGrpSpPr>
              <a:grpSpLocks/>
            </p:cNvGrpSpPr>
            <p:nvPr/>
          </p:nvGrpSpPr>
          <p:grpSpPr bwMode="auto">
            <a:xfrm>
              <a:off x="4697" y="1337"/>
              <a:ext cx="60" cy="64"/>
              <a:chOff x="4697" y="1337"/>
              <a:chExt cx="60" cy="64"/>
            </a:xfrm>
          </p:grpSpPr>
          <p:sp>
            <p:nvSpPr>
              <p:cNvPr id="55549" name="Oval 253"/>
              <p:cNvSpPr>
                <a:spLocks noChangeArrowheads="1"/>
              </p:cNvSpPr>
              <p:nvPr/>
            </p:nvSpPr>
            <p:spPr bwMode="auto">
              <a:xfrm>
                <a:off x="4697" y="1337"/>
                <a:ext cx="60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550" name="Oval 254"/>
              <p:cNvSpPr>
                <a:spLocks noChangeArrowheads="1"/>
              </p:cNvSpPr>
              <p:nvPr/>
            </p:nvSpPr>
            <p:spPr bwMode="auto">
              <a:xfrm>
                <a:off x="4714" y="1355"/>
                <a:ext cx="26" cy="29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55552" name="Rectangle 256"/>
            <p:cNvSpPr>
              <a:spLocks noChangeArrowheads="1"/>
            </p:cNvSpPr>
            <p:nvPr/>
          </p:nvSpPr>
          <p:spPr bwMode="auto">
            <a:xfrm>
              <a:off x="4441" y="1321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55553" name="Rectangle 257"/>
            <p:cNvSpPr>
              <a:spLocks noChangeArrowheads="1"/>
            </p:cNvSpPr>
            <p:nvPr/>
          </p:nvSpPr>
          <p:spPr bwMode="auto">
            <a:xfrm>
              <a:off x="4441" y="1464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55554" name="Rectangle 258"/>
            <p:cNvSpPr>
              <a:spLocks noChangeArrowheads="1"/>
            </p:cNvSpPr>
            <p:nvPr/>
          </p:nvSpPr>
          <p:spPr bwMode="auto">
            <a:xfrm>
              <a:off x="4435" y="1286"/>
              <a:ext cx="803" cy="521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5555" name="Rectangle 259"/>
            <p:cNvSpPr>
              <a:spLocks noChangeArrowheads="1"/>
            </p:cNvSpPr>
            <p:nvPr/>
          </p:nvSpPr>
          <p:spPr bwMode="auto">
            <a:xfrm>
              <a:off x="4441" y="1616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1</a:t>
              </a:r>
            </a:p>
          </p:txBody>
        </p:sp>
        <p:sp>
          <p:nvSpPr>
            <p:cNvPr id="55556" name="AutoShape 260"/>
            <p:cNvSpPr>
              <a:spLocks noChangeArrowheads="1"/>
            </p:cNvSpPr>
            <p:nvPr/>
          </p:nvSpPr>
          <p:spPr bwMode="auto">
            <a:xfrm>
              <a:off x="4704" y="1632"/>
              <a:ext cx="60" cy="64"/>
            </a:xfrm>
            <a:prstGeom prst="triangle">
              <a:avLst>
                <a:gd name="adj" fmla="val 49995"/>
              </a:avLst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55579" name="Group 283"/>
          <p:cNvGrpSpPr>
            <a:grpSpLocks/>
          </p:cNvGrpSpPr>
          <p:nvPr/>
        </p:nvGrpSpPr>
        <p:grpSpPr bwMode="auto">
          <a:xfrm>
            <a:off x="319881" y="2728922"/>
            <a:ext cx="2292483" cy="1100137"/>
            <a:chOff x="186" y="1719"/>
            <a:chExt cx="1333" cy="693"/>
          </a:xfrm>
        </p:grpSpPr>
        <p:sp>
          <p:nvSpPr>
            <p:cNvPr id="55558" name="Rectangle 262"/>
            <p:cNvSpPr>
              <a:spLocks noChangeArrowheads="1"/>
            </p:cNvSpPr>
            <p:nvPr/>
          </p:nvSpPr>
          <p:spPr bwMode="auto">
            <a:xfrm>
              <a:off x="529" y="1783"/>
              <a:ext cx="872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 Positive</a:t>
              </a:r>
            </a:p>
          </p:txBody>
        </p:sp>
        <p:sp>
          <p:nvSpPr>
            <p:cNvPr id="55559" name="Rectangle 263"/>
            <p:cNvSpPr>
              <a:spLocks noChangeArrowheads="1"/>
            </p:cNvSpPr>
            <p:nvPr/>
          </p:nvSpPr>
          <p:spPr bwMode="auto">
            <a:xfrm>
              <a:off x="528" y="1926"/>
              <a:ext cx="507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Positive</a:t>
              </a:r>
            </a:p>
          </p:txBody>
        </p:sp>
        <p:sp>
          <p:nvSpPr>
            <p:cNvPr id="55560" name="Rectangle 264"/>
            <p:cNvSpPr>
              <a:spLocks noChangeArrowheads="1"/>
            </p:cNvSpPr>
            <p:nvPr/>
          </p:nvSpPr>
          <p:spPr bwMode="auto">
            <a:xfrm>
              <a:off x="528" y="2078"/>
              <a:ext cx="542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Negative</a:t>
              </a:r>
            </a:p>
          </p:txBody>
        </p:sp>
        <p:sp>
          <p:nvSpPr>
            <p:cNvPr id="55561" name="Oval 265"/>
            <p:cNvSpPr>
              <a:spLocks noChangeArrowheads="1"/>
            </p:cNvSpPr>
            <p:nvPr/>
          </p:nvSpPr>
          <p:spPr bwMode="auto">
            <a:xfrm>
              <a:off x="452" y="1944"/>
              <a:ext cx="59" cy="64"/>
            </a:xfrm>
            <a:prstGeom prst="ellipse">
              <a:avLst/>
            </a:prstGeom>
            <a:noFill/>
            <a:ln w="12700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55564" name="Group 268"/>
            <p:cNvGrpSpPr>
              <a:grpSpLocks/>
            </p:cNvGrpSpPr>
            <p:nvPr/>
          </p:nvGrpSpPr>
          <p:grpSpPr bwMode="auto">
            <a:xfrm>
              <a:off x="448" y="1799"/>
              <a:ext cx="59" cy="64"/>
              <a:chOff x="448" y="1799"/>
              <a:chExt cx="59" cy="64"/>
            </a:xfrm>
          </p:grpSpPr>
          <p:sp>
            <p:nvSpPr>
              <p:cNvPr id="55562" name="Oval 266"/>
              <p:cNvSpPr>
                <a:spLocks noChangeArrowheads="1"/>
              </p:cNvSpPr>
              <p:nvPr/>
            </p:nvSpPr>
            <p:spPr bwMode="auto">
              <a:xfrm>
                <a:off x="448" y="1799"/>
                <a:ext cx="59" cy="64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563" name="Oval 267"/>
              <p:cNvSpPr>
                <a:spLocks noChangeArrowheads="1"/>
              </p:cNvSpPr>
              <p:nvPr/>
            </p:nvSpPr>
            <p:spPr bwMode="auto">
              <a:xfrm>
                <a:off x="465" y="1817"/>
                <a:ext cx="25" cy="30"/>
              </a:xfrm>
              <a:prstGeom prst="ellipse">
                <a:avLst/>
              </a:prstGeom>
              <a:noFill/>
              <a:ln w="1270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569" name="Group 273"/>
            <p:cNvGrpSpPr>
              <a:grpSpLocks/>
            </p:cNvGrpSpPr>
            <p:nvPr/>
          </p:nvGrpSpPr>
          <p:grpSpPr bwMode="auto">
            <a:xfrm>
              <a:off x="452" y="2225"/>
              <a:ext cx="68" cy="71"/>
              <a:chOff x="452" y="2225"/>
              <a:chExt cx="68" cy="71"/>
            </a:xfrm>
          </p:grpSpPr>
          <p:sp>
            <p:nvSpPr>
              <p:cNvPr id="55565" name="Line 269"/>
              <p:cNvSpPr>
                <a:spLocks noChangeShapeType="1"/>
              </p:cNvSpPr>
              <p:nvPr/>
            </p:nvSpPr>
            <p:spPr bwMode="auto">
              <a:xfrm>
                <a:off x="452" y="2260"/>
                <a:ext cx="68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566" name="Line 270"/>
              <p:cNvSpPr>
                <a:spLocks noChangeShapeType="1"/>
              </p:cNvSpPr>
              <p:nvPr/>
            </p:nvSpPr>
            <p:spPr bwMode="auto">
              <a:xfrm>
                <a:off x="486" y="2225"/>
                <a:ext cx="0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567" name="Line 271"/>
              <p:cNvSpPr>
                <a:spLocks noChangeShapeType="1"/>
              </p:cNvSpPr>
              <p:nvPr/>
            </p:nvSpPr>
            <p:spPr bwMode="auto">
              <a:xfrm flipV="1">
                <a:off x="452" y="2225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568" name="Line 272"/>
              <p:cNvSpPr>
                <a:spLocks noChangeShapeType="1"/>
              </p:cNvSpPr>
              <p:nvPr/>
            </p:nvSpPr>
            <p:spPr bwMode="auto">
              <a:xfrm flipH="1" flipV="1">
                <a:off x="452" y="2225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grpSp>
          <p:nvGrpSpPr>
            <p:cNvPr id="55572" name="Group 276"/>
            <p:cNvGrpSpPr>
              <a:grpSpLocks/>
            </p:cNvGrpSpPr>
            <p:nvPr/>
          </p:nvGrpSpPr>
          <p:grpSpPr bwMode="auto">
            <a:xfrm>
              <a:off x="452" y="2082"/>
              <a:ext cx="68" cy="71"/>
              <a:chOff x="452" y="2082"/>
              <a:chExt cx="68" cy="71"/>
            </a:xfrm>
          </p:grpSpPr>
          <p:sp>
            <p:nvSpPr>
              <p:cNvPr id="55570" name="Line 274"/>
              <p:cNvSpPr>
                <a:spLocks noChangeShapeType="1"/>
              </p:cNvSpPr>
              <p:nvPr/>
            </p:nvSpPr>
            <p:spPr bwMode="auto">
              <a:xfrm flipV="1">
                <a:off x="452" y="2082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5571" name="Line 275"/>
              <p:cNvSpPr>
                <a:spLocks noChangeShapeType="1"/>
              </p:cNvSpPr>
              <p:nvPr/>
            </p:nvSpPr>
            <p:spPr bwMode="auto">
              <a:xfrm flipH="1" flipV="1">
                <a:off x="452" y="2082"/>
                <a:ext cx="68" cy="71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55573" name="Rectangle 277"/>
            <p:cNvSpPr>
              <a:spLocks noChangeArrowheads="1"/>
            </p:cNvSpPr>
            <p:nvPr/>
          </p:nvSpPr>
          <p:spPr bwMode="auto">
            <a:xfrm>
              <a:off x="529" y="2212"/>
              <a:ext cx="90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Strong Negative</a:t>
              </a:r>
            </a:p>
          </p:txBody>
        </p:sp>
        <p:sp>
          <p:nvSpPr>
            <p:cNvPr id="55574" name="Rectangle 278"/>
            <p:cNvSpPr>
              <a:spLocks noChangeArrowheads="1"/>
            </p:cNvSpPr>
            <p:nvPr/>
          </p:nvSpPr>
          <p:spPr bwMode="auto">
            <a:xfrm>
              <a:off x="191" y="1783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9</a:t>
              </a:r>
            </a:p>
          </p:txBody>
        </p:sp>
        <p:sp>
          <p:nvSpPr>
            <p:cNvPr id="55575" name="Rectangle 279"/>
            <p:cNvSpPr>
              <a:spLocks noChangeArrowheads="1"/>
            </p:cNvSpPr>
            <p:nvPr/>
          </p:nvSpPr>
          <p:spPr bwMode="auto">
            <a:xfrm>
              <a:off x="191" y="1926"/>
              <a:ext cx="226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+3</a:t>
              </a:r>
            </a:p>
          </p:txBody>
        </p:sp>
        <p:sp>
          <p:nvSpPr>
            <p:cNvPr id="55576" name="Rectangle 280"/>
            <p:cNvSpPr>
              <a:spLocks noChangeArrowheads="1"/>
            </p:cNvSpPr>
            <p:nvPr/>
          </p:nvSpPr>
          <p:spPr bwMode="auto">
            <a:xfrm>
              <a:off x="214" y="2069"/>
              <a:ext cx="200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-3</a:t>
              </a:r>
            </a:p>
          </p:txBody>
        </p:sp>
        <p:sp>
          <p:nvSpPr>
            <p:cNvPr id="55577" name="Rectangle 281"/>
            <p:cNvSpPr>
              <a:spLocks noChangeArrowheads="1"/>
            </p:cNvSpPr>
            <p:nvPr/>
          </p:nvSpPr>
          <p:spPr bwMode="auto">
            <a:xfrm>
              <a:off x="214" y="2212"/>
              <a:ext cx="200" cy="1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latinLnBrk="0" hangingPunct="0">
                <a:lnSpc>
                  <a:spcPct val="80000"/>
                </a:lnSpc>
              </a:pPr>
              <a:r>
                <a:rPr kumimoji="0" lang="en-US" altLang="ko-KR" sz="14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-9</a:t>
              </a:r>
            </a:p>
          </p:txBody>
        </p:sp>
        <p:sp>
          <p:nvSpPr>
            <p:cNvPr id="55578" name="Rectangle 282"/>
            <p:cNvSpPr>
              <a:spLocks noChangeArrowheads="1"/>
            </p:cNvSpPr>
            <p:nvPr/>
          </p:nvSpPr>
          <p:spPr bwMode="auto">
            <a:xfrm>
              <a:off x="186" y="1719"/>
              <a:ext cx="1333" cy="693"/>
            </a:xfrm>
            <a:prstGeom prst="rect">
              <a:avLst/>
            </a:prstGeom>
            <a:noFill/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sp>
        <p:nvSpPr>
          <p:cNvPr id="55580" name="Rectangle 284"/>
          <p:cNvSpPr>
            <a:spLocks noChangeArrowheads="1"/>
          </p:cNvSpPr>
          <p:nvPr/>
        </p:nvSpPr>
        <p:spPr bwMode="auto">
          <a:xfrm>
            <a:off x="117184" y="1539876"/>
            <a:ext cx="2673809" cy="1077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Interrelationship between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Technical Descriptors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(correlation matrix)</a:t>
            </a:r>
          </a:p>
          <a:p>
            <a:pPr algn="ctr" eaLnBrk="0" latinLnBrk="0" hangingPunct="0"/>
            <a:r>
              <a:rPr kumimoji="0" lang="en-US" altLang="ko-KR" sz="16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HOWs vs. HOWs</a:t>
            </a:r>
          </a:p>
        </p:txBody>
      </p:sp>
    </p:spTree>
    <p:extLst>
      <p:ext uri="{BB962C8B-B14F-4D97-AF65-F5344CB8AC3E}">
        <p14:creationId xmlns:p14="http://schemas.microsoft.com/office/powerpoint/2010/main" val="2816736621"/>
      </p:ext>
    </p:extLst>
  </p:cSld>
  <p:clrMapOvr>
    <a:masterClrMapping/>
  </p:clrMapOvr>
  <p:transition spd="slow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3"/>
          <a:stretch/>
        </p:blipFill>
        <p:spPr bwMode="auto">
          <a:xfrm>
            <a:off x="2144690" y="44627"/>
            <a:ext cx="6312565" cy="6658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직선 연결선 4"/>
          <p:cNvCxnSpPr/>
          <p:nvPr/>
        </p:nvCxnSpPr>
        <p:spPr>
          <a:xfrm>
            <a:off x="2699074" y="3580700"/>
            <a:ext cx="1482165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직사각형 5"/>
          <p:cNvSpPr/>
          <p:nvPr/>
        </p:nvSpPr>
        <p:spPr>
          <a:xfrm>
            <a:off x="4390290" y="3412154"/>
            <a:ext cx="171464" cy="18397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7" name="타원 6"/>
          <p:cNvSpPr/>
          <p:nvPr/>
        </p:nvSpPr>
        <p:spPr>
          <a:xfrm>
            <a:off x="4595053" y="3442388"/>
            <a:ext cx="158227" cy="146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21" name="타원 20"/>
          <p:cNvSpPr/>
          <p:nvPr/>
        </p:nvSpPr>
        <p:spPr>
          <a:xfrm>
            <a:off x="5444138" y="3442388"/>
            <a:ext cx="158227" cy="146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22" name="타원 21"/>
          <p:cNvSpPr/>
          <p:nvPr/>
        </p:nvSpPr>
        <p:spPr>
          <a:xfrm>
            <a:off x="5860357" y="3442388"/>
            <a:ext cx="158227" cy="146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23" name="자유형 22"/>
          <p:cNvSpPr/>
          <p:nvPr/>
        </p:nvSpPr>
        <p:spPr>
          <a:xfrm>
            <a:off x="4664530" y="818418"/>
            <a:ext cx="373189" cy="1250656"/>
          </a:xfrm>
          <a:custGeom>
            <a:avLst/>
            <a:gdLst>
              <a:gd name="connsiteX0" fmla="*/ 0 w 614723"/>
              <a:gd name="connsiteY0" fmla="*/ 1536807 h 1536807"/>
              <a:gd name="connsiteX1" fmla="*/ 0 w 614723"/>
              <a:gd name="connsiteY1" fmla="*/ 614723 h 1536807"/>
              <a:gd name="connsiteX2" fmla="*/ 614723 w 614723"/>
              <a:gd name="connsiteY2" fmla="*/ 0 h 1536807"/>
              <a:gd name="connsiteX0" fmla="*/ 0 w 407255"/>
              <a:gd name="connsiteY0" fmla="*/ 1021976 h 1021976"/>
              <a:gd name="connsiteX1" fmla="*/ 0 w 407255"/>
              <a:gd name="connsiteY1" fmla="*/ 99892 h 1021976"/>
              <a:gd name="connsiteX2" fmla="*/ 407255 w 407255"/>
              <a:gd name="connsiteY2" fmla="*/ 0 h 1021976"/>
              <a:gd name="connsiteX0" fmla="*/ 0 w 268942"/>
              <a:gd name="connsiteY0" fmla="*/ 1160289 h 1160289"/>
              <a:gd name="connsiteX1" fmla="*/ 0 w 268942"/>
              <a:gd name="connsiteY1" fmla="*/ 238205 h 1160289"/>
              <a:gd name="connsiteX2" fmla="*/ 268942 w 268942"/>
              <a:gd name="connsiteY2" fmla="*/ 0 h 1160289"/>
              <a:gd name="connsiteX0" fmla="*/ 0 w 361150"/>
              <a:gd name="connsiteY0" fmla="*/ 1260181 h 1260181"/>
              <a:gd name="connsiteX1" fmla="*/ 0 w 361150"/>
              <a:gd name="connsiteY1" fmla="*/ 338097 h 1260181"/>
              <a:gd name="connsiteX2" fmla="*/ 361150 w 361150"/>
              <a:gd name="connsiteY2" fmla="*/ 0 h 1260181"/>
              <a:gd name="connsiteX0" fmla="*/ 0 w 344482"/>
              <a:gd name="connsiteY0" fmla="*/ 1250656 h 1250656"/>
              <a:gd name="connsiteX1" fmla="*/ 0 w 344482"/>
              <a:gd name="connsiteY1" fmla="*/ 328572 h 1250656"/>
              <a:gd name="connsiteX2" fmla="*/ 344482 w 344482"/>
              <a:gd name="connsiteY2" fmla="*/ 0 h 1250656"/>
              <a:gd name="connsiteX0" fmla="*/ 0 w 344482"/>
              <a:gd name="connsiteY0" fmla="*/ 1254686 h 1254686"/>
              <a:gd name="connsiteX1" fmla="*/ 0 w 344482"/>
              <a:gd name="connsiteY1" fmla="*/ 332602 h 1254686"/>
              <a:gd name="connsiteX2" fmla="*/ 321052 w 344482"/>
              <a:gd name="connsiteY2" fmla="*/ 0 h 1254686"/>
              <a:gd name="connsiteX3" fmla="*/ 344482 w 344482"/>
              <a:gd name="connsiteY3" fmla="*/ 4030 h 1254686"/>
              <a:gd name="connsiteX0" fmla="*/ 0 w 344482"/>
              <a:gd name="connsiteY0" fmla="*/ 1254686 h 1254686"/>
              <a:gd name="connsiteX1" fmla="*/ 0 w 344482"/>
              <a:gd name="connsiteY1" fmla="*/ 332602 h 1254686"/>
              <a:gd name="connsiteX2" fmla="*/ 321052 w 344482"/>
              <a:gd name="connsiteY2" fmla="*/ 0 h 1254686"/>
              <a:gd name="connsiteX3" fmla="*/ 344482 w 344482"/>
              <a:gd name="connsiteY3" fmla="*/ 4030 h 1254686"/>
              <a:gd name="connsiteX0" fmla="*/ 0 w 344482"/>
              <a:gd name="connsiteY0" fmla="*/ 1250656 h 1250656"/>
              <a:gd name="connsiteX1" fmla="*/ 0 w 344482"/>
              <a:gd name="connsiteY1" fmla="*/ 328572 h 1250656"/>
              <a:gd name="connsiteX2" fmla="*/ 306764 w 344482"/>
              <a:gd name="connsiteY2" fmla="*/ 24545 h 1250656"/>
              <a:gd name="connsiteX3" fmla="*/ 344482 w 344482"/>
              <a:gd name="connsiteY3" fmla="*/ 0 h 1250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4482" h="1250656">
                <a:moveTo>
                  <a:pt x="0" y="1250656"/>
                </a:moveTo>
                <a:lnTo>
                  <a:pt x="0" y="328572"/>
                </a:lnTo>
                <a:cubicBezTo>
                  <a:pt x="114161" y="221674"/>
                  <a:pt x="104497" y="238600"/>
                  <a:pt x="306764" y="24545"/>
                </a:cubicBezTo>
                <a:lnTo>
                  <a:pt x="344482" y="0"/>
                </a:lnTo>
              </a:path>
            </a:pathLst>
          </a:custGeom>
          <a:noFill/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24" name="자유형 23"/>
          <p:cNvSpPr/>
          <p:nvPr/>
        </p:nvSpPr>
        <p:spPr>
          <a:xfrm flipH="1">
            <a:off x="5141114" y="823722"/>
            <a:ext cx="366271" cy="1252497"/>
          </a:xfrm>
          <a:custGeom>
            <a:avLst/>
            <a:gdLst>
              <a:gd name="connsiteX0" fmla="*/ 0 w 614723"/>
              <a:gd name="connsiteY0" fmla="*/ 1536807 h 1536807"/>
              <a:gd name="connsiteX1" fmla="*/ 0 w 614723"/>
              <a:gd name="connsiteY1" fmla="*/ 614723 h 1536807"/>
              <a:gd name="connsiteX2" fmla="*/ 614723 w 614723"/>
              <a:gd name="connsiteY2" fmla="*/ 0 h 1536807"/>
              <a:gd name="connsiteX0" fmla="*/ 0 w 407255"/>
              <a:gd name="connsiteY0" fmla="*/ 1021976 h 1021976"/>
              <a:gd name="connsiteX1" fmla="*/ 0 w 407255"/>
              <a:gd name="connsiteY1" fmla="*/ 99892 h 1021976"/>
              <a:gd name="connsiteX2" fmla="*/ 407255 w 407255"/>
              <a:gd name="connsiteY2" fmla="*/ 0 h 1021976"/>
              <a:gd name="connsiteX0" fmla="*/ 0 w 268942"/>
              <a:gd name="connsiteY0" fmla="*/ 1160289 h 1160289"/>
              <a:gd name="connsiteX1" fmla="*/ 0 w 268942"/>
              <a:gd name="connsiteY1" fmla="*/ 238205 h 1160289"/>
              <a:gd name="connsiteX2" fmla="*/ 268942 w 268942"/>
              <a:gd name="connsiteY2" fmla="*/ 0 h 1160289"/>
              <a:gd name="connsiteX0" fmla="*/ 0 w 319823"/>
              <a:gd name="connsiteY0" fmla="*/ 1252497 h 1252497"/>
              <a:gd name="connsiteX1" fmla="*/ 0 w 319823"/>
              <a:gd name="connsiteY1" fmla="*/ 330413 h 1252497"/>
              <a:gd name="connsiteX2" fmla="*/ 319823 w 319823"/>
              <a:gd name="connsiteY2" fmla="*/ 0 h 1252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9823" h="1252497">
                <a:moveTo>
                  <a:pt x="0" y="1252497"/>
                </a:moveTo>
                <a:lnTo>
                  <a:pt x="0" y="330413"/>
                </a:lnTo>
                <a:lnTo>
                  <a:pt x="319823" y="0"/>
                </a:lnTo>
              </a:path>
            </a:pathLst>
          </a:custGeom>
          <a:noFill/>
          <a:ln w="38100"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5007924" y="672362"/>
            <a:ext cx="158227" cy="146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8" name="직사각형 7"/>
          <p:cNvSpPr/>
          <p:nvPr/>
        </p:nvSpPr>
        <p:spPr>
          <a:xfrm rot="18879677">
            <a:off x="5155461" y="401190"/>
            <a:ext cx="504056" cy="1571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4595051" y="6237312"/>
            <a:ext cx="209359" cy="23968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10" name="직사각형 9"/>
          <p:cNvSpPr/>
          <p:nvPr/>
        </p:nvSpPr>
        <p:spPr>
          <a:xfrm>
            <a:off x="7120734" y="3373731"/>
            <a:ext cx="1035207" cy="1924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087713" y="3019812"/>
            <a:ext cx="5998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kumimoji="0" lang="en-US" altLang="ko-KR" sz="2800" dirty="0">
                <a:solidFill>
                  <a:srgbClr val="FF0000"/>
                </a:solidFill>
                <a:latin typeface="맑은 고딕"/>
                <a:ea typeface="맑은 고딕"/>
              </a:rPr>
              <a:t> </a:t>
            </a:r>
            <a:endParaRPr kumimoji="0" lang="ko-KR" altLang="en-US" sz="2800" dirty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</p:spTree>
    <p:extLst>
      <p:ext uri="{BB962C8B-B14F-4D97-AF65-F5344CB8AC3E}">
        <p14:creationId xmlns:p14="http://schemas.microsoft.com/office/powerpoint/2010/main" val="315890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>
          <a:xfrm>
            <a:off x="495300" y="187325"/>
            <a:ext cx="8915400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QFD Process</a:t>
            </a:r>
          </a:p>
        </p:txBody>
      </p:sp>
      <p:grpSp>
        <p:nvGrpSpPr>
          <p:cNvPr id="57416" name="Group 72"/>
          <p:cNvGrpSpPr>
            <a:grpSpLocks/>
          </p:cNvGrpSpPr>
          <p:nvPr/>
        </p:nvGrpSpPr>
        <p:grpSpPr bwMode="auto">
          <a:xfrm>
            <a:off x="1037034" y="1839913"/>
            <a:ext cx="7515490" cy="3867150"/>
            <a:chOff x="603" y="1159"/>
            <a:chExt cx="4370" cy="2436"/>
          </a:xfrm>
        </p:grpSpPr>
        <p:sp>
          <p:nvSpPr>
            <p:cNvPr id="57347" name="Rectangle 3"/>
            <p:cNvSpPr>
              <a:spLocks noChangeArrowheads="1"/>
            </p:cNvSpPr>
            <p:nvPr/>
          </p:nvSpPr>
          <p:spPr bwMode="auto">
            <a:xfrm rot="16200000">
              <a:off x="392" y="2238"/>
              <a:ext cx="619" cy="1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HATs</a:t>
              </a:r>
            </a:p>
          </p:txBody>
        </p:sp>
        <p:sp>
          <p:nvSpPr>
            <p:cNvPr id="57348" name="Rectangle 4"/>
            <p:cNvSpPr>
              <a:spLocks noChangeArrowheads="1"/>
            </p:cNvSpPr>
            <p:nvPr/>
          </p:nvSpPr>
          <p:spPr bwMode="auto">
            <a:xfrm>
              <a:off x="665" y="3197"/>
              <a:ext cx="567" cy="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HOW MUCH</a:t>
              </a:r>
            </a:p>
          </p:txBody>
        </p:sp>
        <p:sp>
          <p:nvSpPr>
            <p:cNvPr id="57349" name="Rectangle 5"/>
            <p:cNvSpPr>
              <a:spLocks noChangeArrowheads="1"/>
            </p:cNvSpPr>
            <p:nvPr/>
          </p:nvSpPr>
          <p:spPr bwMode="auto">
            <a:xfrm>
              <a:off x="702" y="1285"/>
              <a:ext cx="564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HOWs</a:t>
              </a:r>
            </a:p>
          </p:txBody>
        </p:sp>
        <p:sp>
          <p:nvSpPr>
            <p:cNvPr id="57350" name="Line 6"/>
            <p:cNvSpPr>
              <a:spLocks noChangeShapeType="1"/>
            </p:cNvSpPr>
            <p:nvPr/>
          </p:nvSpPr>
          <p:spPr bwMode="auto">
            <a:xfrm>
              <a:off x="2540" y="1726"/>
              <a:ext cx="0" cy="1326"/>
            </a:xfrm>
            <a:prstGeom prst="line">
              <a:avLst/>
            </a:prstGeom>
            <a:noFill/>
            <a:ln w="254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grpSp>
          <p:nvGrpSpPr>
            <p:cNvPr id="57360" name="Group 16"/>
            <p:cNvGrpSpPr>
              <a:grpSpLocks/>
            </p:cNvGrpSpPr>
            <p:nvPr/>
          </p:nvGrpSpPr>
          <p:grpSpPr bwMode="auto">
            <a:xfrm>
              <a:off x="1335" y="3025"/>
              <a:ext cx="1191" cy="570"/>
              <a:chOff x="1335" y="3025"/>
              <a:chExt cx="1191" cy="570"/>
            </a:xfrm>
          </p:grpSpPr>
          <p:sp>
            <p:nvSpPr>
              <p:cNvPr id="57351" name="Line 7"/>
              <p:cNvSpPr>
                <a:spLocks noChangeShapeType="1"/>
              </p:cNvSpPr>
              <p:nvPr/>
            </p:nvSpPr>
            <p:spPr bwMode="auto">
              <a:xfrm flipV="1">
                <a:off x="1930" y="3025"/>
                <a:ext cx="0" cy="570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grpSp>
            <p:nvGrpSpPr>
              <p:cNvPr id="57359" name="Group 15"/>
              <p:cNvGrpSpPr>
                <a:grpSpLocks/>
              </p:cNvGrpSpPr>
              <p:nvPr/>
            </p:nvGrpSpPr>
            <p:grpSpPr bwMode="auto">
              <a:xfrm>
                <a:off x="1335" y="3025"/>
                <a:ext cx="1191" cy="570"/>
                <a:chOff x="1335" y="3025"/>
                <a:chExt cx="1191" cy="570"/>
              </a:xfrm>
            </p:grpSpPr>
            <p:sp>
              <p:nvSpPr>
                <p:cNvPr id="57352" name="Rectangle 8"/>
                <p:cNvSpPr>
                  <a:spLocks noChangeArrowheads="1"/>
                </p:cNvSpPr>
                <p:nvPr/>
              </p:nvSpPr>
              <p:spPr bwMode="auto">
                <a:xfrm>
                  <a:off x="1335" y="3033"/>
                  <a:ext cx="1191" cy="554"/>
                </a:xfrm>
                <a:prstGeom prst="rect">
                  <a:avLst/>
                </a:prstGeom>
                <a:noFill/>
                <a:ln w="254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53" name="Line 9"/>
                <p:cNvSpPr>
                  <a:spLocks noChangeShapeType="1"/>
                </p:cNvSpPr>
                <p:nvPr/>
              </p:nvSpPr>
              <p:spPr bwMode="auto">
                <a:xfrm flipV="1">
                  <a:off x="1477" y="3025"/>
                  <a:ext cx="0" cy="57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54" name="Line 10"/>
                <p:cNvSpPr>
                  <a:spLocks noChangeShapeType="1"/>
                </p:cNvSpPr>
                <p:nvPr/>
              </p:nvSpPr>
              <p:spPr bwMode="auto">
                <a:xfrm flipV="1">
                  <a:off x="1629" y="3025"/>
                  <a:ext cx="0" cy="57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55" name="Line 11"/>
                <p:cNvSpPr>
                  <a:spLocks noChangeShapeType="1"/>
                </p:cNvSpPr>
                <p:nvPr/>
              </p:nvSpPr>
              <p:spPr bwMode="auto">
                <a:xfrm flipV="1">
                  <a:off x="1779" y="3025"/>
                  <a:ext cx="0" cy="57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56" name="Line 12"/>
                <p:cNvSpPr>
                  <a:spLocks noChangeShapeType="1"/>
                </p:cNvSpPr>
                <p:nvPr/>
              </p:nvSpPr>
              <p:spPr bwMode="auto">
                <a:xfrm flipV="1">
                  <a:off x="2081" y="3025"/>
                  <a:ext cx="0" cy="57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57" name="Line 13"/>
                <p:cNvSpPr>
                  <a:spLocks noChangeShapeType="1"/>
                </p:cNvSpPr>
                <p:nvPr/>
              </p:nvSpPr>
              <p:spPr bwMode="auto">
                <a:xfrm flipV="1">
                  <a:off x="2232" y="3025"/>
                  <a:ext cx="0" cy="57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58" name="Line 14"/>
                <p:cNvSpPr>
                  <a:spLocks noChangeShapeType="1"/>
                </p:cNvSpPr>
                <p:nvPr/>
              </p:nvSpPr>
              <p:spPr bwMode="auto">
                <a:xfrm flipV="1">
                  <a:off x="2383" y="3025"/>
                  <a:ext cx="0" cy="57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</p:grpSp>
        <p:grpSp>
          <p:nvGrpSpPr>
            <p:cNvPr id="57370" name="Group 26"/>
            <p:cNvGrpSpPr>
              <a:grpSpLocks/>
            </p:cNvGrpSpPr>
            <p:nvPr/>
          </p:nvGrpSpPr>
          <p:grpSpPr bwMode="auto">
            <a:xfrm>
              <a:off x="1335" y="1189"/>
              <a:ext cx="1191" cy="571"/>
              <a:chOff x="1335" y="1189"/>
              <a:chExt cx="1191" cy="571"/>
            </a:xfrm>
          </p:grpSpPr>
          <p:sp>
            <p:nvSpPr>
              <p:cNvPr id="57361" name="Line 17"/>
              <p:cNvSpPr>
                <a:spLocks noChangeShapeType="1"/>
              </p:cNvSpPr>
              <p:nvPr/>
            </p:nvSpPr>
            <p:spPr bwMode="auto">
              <a:xfrm flipV="1">
                <a:off x="1930" y="1189"/>
                <a:ext cx="0" cy="571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grpSp>
            <p:nvGrpSpPr>
              <p:cNvPr id="57369" name="Group 25"/>
              <p:cNvGrpSpPr>
                <a:grpSpLocks/>
              </p:cNvGrpSpPr>
              <p:nvPr/>
            </p:nvGrpSpPr>
            <p:grpSpPr bwMode="auto">
              <a:xfrm>
                <a:off x="1335" y="1189"/>
                <a:ext cx="1191" cy="571"/>
                <a:chOff x="1335" y="1189"/>
                <a:chExt cx="1191" cy="571"/>
              </a:xfrm>
            </p:grpSpPr>
            <p:sp>
              <p:nvSpPr>
                <p:cNvPr id="57362" name="Rectangle 18"/>
                <p:cNvSpPr>
                  <a:spLocks noChangeArrowheads="1"/>
                </p:cNvSpPr>
                <p:nvPr/>
              </p:nvSpPr>
              <p:spPr bwMode="auto">
                <a:xfrm>
                  <a:off x="1335" y="1197"/>
                  <a:ext cx="1191" cy="555"/>
                </a:xfrm>
                <a:prstGeom prst="rect">
                  <a:avLst/>
                </a:prstGeom>
                <a:noFill/>
                <a:ln w="254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63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1477" y="1189"/>
                  <a:ext cx="0" cy="571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64" name="Line 20"/>
                <p:cNvSpPr>
                  <a:spLocks noChangeShapeType="1"/>
                </p:cNvSpPr>
                <p:nvPr/>
              </p:nvSpPr>
              <p:spPr bwMode="auto">
                <a:xfrm flipV="1">
                  <a:off x="1629" y="1189"/>
                  <a:ext cx="0" cy="571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65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1779" y="1189"/>
                  <a:ext cx="0" cy="571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66" name="Line 22"/>
                <p:cNvSpPr>
                  <a:spLocks noChangeShapeType="1"/>
                </p:cNvSpPr>
                <p:nvPr/>
              </p:nvSpPr>
              <p:spPr bwMode="auto">
                <a:xfrm flipV="1">
                  <a:off x="2081" y="1189"/>
                  <a:ext cx="0" cy="571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67" name="Line 23"/>
                <p:cNvSpPr>
                  <a:spLocks noChangeShapeType="1"/>
                </p:cNvSpPr>
                <p:nvPr/>
              </p:nvSpPr>
              <p:spPr bwMode="auto">
                <a:xfrm flipV="1">
                  <a:off x="2232" y="1189"/>
                  <a:ext cx="0" cy="571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368" name="Line 24"/>
                <p:cNvSpPr>
                  <a:spLocks noChangeShapeType="1"/>
                </p:cNvSpPr>
                <p:nvPr/>
              </p:nvSpPr>
              <p:spPr bwMode="auto">
                <a:xfrm flipV="1">
                  <a:off x="2383" y="1189"/>
                  <a:ext cx="0" cy="571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</p:grpSp>
        <p:grpSp>
          <p:nvGrpSpPr>
            <p:cNvPr id="57379" name="Group 35"/>
            <p:cNvGrpSpPr>
              <a:grpSpLocks/>
            </p:cNvGrpSpPr>
            <p:nvPr/>
          </p:nvGrpSpPr>
          <p:grpSpPr bwMode="auto">
            <a:xfrm>
              <a:off x="799" y="1769"/>
              <a:ext cx="528" cy="1250"/>
              <a:chOff x="799" y="1769"/>
              <a:chExt cx="528" cy="1250"/>
            </a:xfrm>
          </p:grpSpPr>
          <p:sp>
            <p:nvSpPr>
              <p:cNvPr id="57371" name="Rectangle 27"/>
              <p:cNvSpPr>
                <a:spLocks noChangeArrowheads="1"/>
              </p:cNvSpPr>
              <p:nvPr/>
            </p:nvSpPr>
            <p:spPr bwMode="auto">
              <a:xfrm>
                <a:off x="807" y="1769"/>
                <a:ext cx="512" cy="1250"/>
              </a:xfrm>
              <a:prstGeom prst="rect">
                <a:avLst/>
              </a:prstGeom>
              <a:noFill/>
              <a:ln w="2540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7372" name="Line 28"/>
              <p:cNvSpPr>
                <a:spLocks noChangeShapeType="1"/>
              </p:cNvSpPr>
              <p:nvPr/>
            </p:nvSpPr>
            <p:spPr bwMode="auto">
              <a:xfrm flipH="1">
                <a:off x="799" y="2856"/>
                <a:ext cx="528" cy="0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7373" name="Line 29"/>
              <p:cNvSpPr>
                <a:spLocks noChangeShapeType="1"/>
              </p:cNvSpPr>
              <p:nvPr/>
            </p:nvSpPr>
            <p:spPr bwMode="auto">
              <a:xfrm flipH="1">
                <a:off x="799" y="2698"/>
                <a:ext cx="528" cy="0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7374" name="Line 30"/>
              <p:cNvSpPr>
                <a:spLocks noChangeShapeType="1"/>
              </p:cNvSpPr>
              <p:nvPr/>
            </p:nvSpPr>
            <p:spPr bwMode="auto">
              <a:xfrm flipH="1">
                <a:off x="799" y="2542"/>
                <a:ext cx="528" cy="0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7375" name="Line 31"/>
              <p:cNvSpPr>
                <a:spLocks noChangeShapeType="1"/>
              </p:cNvSpPr>
              <p:nvPr/>
            </p:nvSpPr>
            <p:spPr bwMode="auto">
              <a:xfrm flipH="1">
                <a:off x="799" y="2385"/>
                <a:ext cx="528" cy="0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7376" name="Line 32"/>
              <p:cNvSpPr>
                <a:spLocks noChangeShapeType="1"/>
              </p:cNvSpPr>
              <p:nvPr/>
            </p:nvSpPr>
            <p:spPr bwMode="auto">
              <a:xfrm flipH="1">
                <a:off x="799" y="2232"/>
                <a:ext cx="528" cy="0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7377" name="Line 33"/>
              <p:cNvSpPr>
                <a:spLocks noChangeShapeType="1"/>
              </p:cNvSpPr>
              <p:nvPr/>
            </p:nvSpPr>
            <p:spPr bwMode="auto">
              <a:xfrm flipH="1">
                <a:off x="799" y="2074"/>
                <a:ext cx="528" cy="0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sp>
            <p:nvSpPr>
              <p:cNvPr id="57378" name="Line 34"/>
              <p:cNvSpPr>
                <a:spLocks noChangeShapeType="1"/>
              </p:cNvSpPr>
              <p:nvPr/>
            </p:nvSpPr>
            <p:spPr bwMode="auto">
              <a:xfrm flipH="1">
                <a:off x="799" y="1918"/>
                <a:ext cx="528" cy="0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</p:grpSp>
        <p:sp>
          <p:nvSpPr>
            <p:cNvPr id="57380" name="AutoShape 36"/>
            <p:cNvSpPr>
              <a:spLocks noChangeArrowheads="1"/>
            </p:cNvSpPr>
            <p:nvPr/>
          </p:nvSpPr>
          <p:spPr bwMode="auto">
            <a:xfrm rot="3180000">
              <a:off x="2466" y="1664"/>
              <a:ext cx="738" cy="146"/>
            </a:xfrm>
            <a:prstGeom prst="rightArrow">
              <a:avLst>
                <a:gd name="adj1" fmla="val 50000"/>
                <a:gd name="adj2" fmla="val 252763"/>
              </a:avLst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7381" name="AutoShape 37"/>
            <p:cNvSpPr>
              <a:spLocks noChangeArrowheads="1"/>
            </p:cNvSpPr>
            <p:nvPr/>
          </p:nvSpPr>
          <p:spPr bwMode="auto">
            <a:xfrm rot="7620000">
              <a:off x="2466" y="2952"/>
              <a:ext cx="738" cy="147"/>
            </a:xfrm>
            <a:prstGeom prst="leftArrow">
              <a:avLst>
                <a:gd name="adj1" fmla="val 50000"/>
                <a:gd name="adj2" fmla="val 250997"/>
              </a:avLst>
            </a:prstGeom>
            <a:noFill/>
            <a:ln w="254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7382" name="Rectangle 38"/>
            <p:cNvSpPr>
              <a:spLocks noChangeArrowheads="1"/>
            </p:cNvSpPr>
            <p:nvPr/>
          </p:nvSpPr>
          <p:spPr bwMode="auto">
            <a:xfrm rot="16200000">
              <a:off x="2852" y="2260"/>
              <a:ext cx="596" cy="1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dirty="0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WHATs</a:t>
              </a:r>
            </a:p>
          </p:txBody>
        </p:sp>
        <p:sp>
          <p:nvSpPr>
            <p:cNvPr id="57383" name="Rectangle 39"/>
            <p:cNvSpPr>
              <a:spLocks noChangeArrowheads="1"/>
            </p:cNvSpPr>
            <p:nvPr/>
          </p:nvSpPr>
          <p:spPr bwMode="auto">
            <a:xfrm>
              <a:off x="3107" y="3167"/>
              <a:ext cx="567" cy="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HOW MUCH</a:t>
              </a:r>
            </a:p>
          </p:txBody>
        </p:sp>
        <p:sp>
          <p:nvSpPr>
            <p:cNvPr id="57384" name="Rectangle 40"/>
            <p:cNvSpPr>
              <a:spLocks noChangeArrowheads="1"/>
            </p:cNvSpPr>
            <p:nvPr/>
          </p:nvSpPr>
          <p:spPr bwMode="auto">
            <a:xfrm>
              <a:off x="3153" y="1254"/>
              <a:ext cx="556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latinLnBrk="0" hangingPunct="0"/>
              <a:r>
                <a:rPr kumimoji="0" lang="en-US" altLang="ko-KR" sz="1600" b="1" smtClean="0">
                  <a:solidFill>
                    <a:srgbClr val="FFFFFF"/>
                  </a:solidFill>
                  <a:latin typeface="Arial" charset="0"/>
                  <a:ea typeface="굴림" charset="-127"/>
                </a:rPr>
                <a:t>HOWs</a:t>
              </a:r>
            </a:p>
          </p:txBody>
        </p:sp>
        <p:grpSp>
          <p:nvGrpSpPr>
            <p:cNvPr id="57415" name="Group 71"/>
            <p:cNvGrpSpPr>
              <a:grpSpLocks/>
            </p:cNvGrpSpPr>
            <p:nvPr/>
          </p:nvGrpSpPr>
          <p:grpSpPr bwMode="auto">
            <a:xfrm>
              <a:off x="3229" y="1159"/>
              <a:ext cx="1744" cy="2407"/>
              <a:chOff x="3229" y="1159"/>
              <a:chExt cx="1744" cy="2407"/>
            </a:xfrm>
          </p:grpSpPr>
          <p:sp>
            <p:nvSpPr>
              <p:cNvPr id="57385" name="Line 41"/>
              <p:cNvSpPr>
                <a:spLocks noChangeShapeType="1"/>
              </p:cNvSpPr>
              <p:nvPr/>
            </p:nvSpPr>
            <p:spPr bwMode="auto">
              <a:xfrm>
                <a:off x="4973" y="1706"/>
                <a:ext cx="0" cy="1326"/>
              </a:xfrm>
              <a:prstGeom prst="line">
                <a:avLst/>
              </a:prstGeom>
              <a:noFill/>
              <a:ln w="254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eaLnBrk="0" latinLnBrk="0" hangingPunct="0"/>
                <a:endParaRPr kumimoji="0" lang="ko-KR" altLang="en-US" sz="2400" smtClean="0">
                  <a:solidFill>
                    <a:srgbClr val="000000"/>
                  </a:solidFill>
                  <a:latin typeface="Times New Roman" pitchFamily="18" charset="0"/>
                  <a:ea typeface="+mn-ea"/>
                </a:endParaRPr>
              </a:p>
            </p:txBody>
          </p:sp>
          <p:grpSp>
            <p:nvGrpSpPr>
              <p:cNvPr id="57395" name="Group 51"/>
              <p:cNvGrpSpPr>
                <a:grpSpLocks/>
              </p:cNvGrpSpPr>
              <p:nvPr/>
            </p:nvGrpSpPr>
            <p:grpSpPr bwMode="auto">
              <a:xfrm>
                <a:off x="3765" y="2994"/>
                <a:ext cx="1190" cy="572"/>
                <a:chOff x="3765" y="2994"/>
                <a:chExt cx="1190" cy="572"/>
              </a:xfrm>
            </p:grpSpPr>
            <p:sp>
              <p:nvSpPr>
                <p:cNvPr id="57386" name="Line 42"/>
                <p:cNvSpPr>
                  <a:spLocks noChangeShapeType="1"/>
                </p:cNvSpPr>
                <p:nvPr/>
              </p:nvSpPr>
              <p:spPr bwMode="auto">
                <a:xfrm flipV="1">
                  <a:off x="4361" y="2994"/>
                  <a:ext cx="0" cy="572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grpSp>
              <p:nvGrpSpPr>
                <p:cNvPr id="57394" name="Group 50"/>
                <p:cNvGrpSpPr>
                  <a:grpSpLocks/>
                </p:cNvGrpSpPr>
                <p:nvPr/>
              </p:nvGrpSpPr>
              <p:grpSpPr bwMode="auto">
                <a:xfrm>
                  <a:off x="3765" y="2994"/>
                  <a:ext cx="1190" cy="572"/>
                  <a:chOff x="3765" y="2994"/>
                  <a:chExt cx="1190" cy="572"/>
                </a:xfrm>
              </p:grpSpPr>
              <p:sp>
                <p:nvSpPr>
                  <p:cNvPr id="57387" name="Rectangle 43"/>
                  <p:cNvSpPr>
                    <a:spLocks noChangeArrowheads="1"/>
                  </p:cNvSpPr>
                  <p:nvPr/>
                </p:nvSpPr>
                <p:spPr bwMode="auto">
                  <a:xfrm>
                    <a:off x="3765" y="3002"/>
                    <a:ext cx="1190" cy="556"/>
                  </a:xfrm>
                  <a:prstGeom prst="rect">
                    <a:avLst/>
                  </a:prstGeom>
                  <a:noFill/>
                  <a:ln w="25400">
                    <a:solidFill>
                      <a:srgbClr val="FFFFFF"/>
                    </a:solidFill>
                    <a:miter lim="800000"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388" name="Line 4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907" y="2994"/>
                    <a:ext cx="0" cy="572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389" name="Line 4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059" y="2994"/>
                    <a:ext cx="0" cy="572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390" name="Line 4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209" y="2994"/>
                    <a:ext cx="0" cy="572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391" name="Line 4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511" y="2994"/>
                    <a:ext cx="0" cy="572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392" name="Line 4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661" y="2994"/>
                    <a:ext cx="0" cy="572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393" name="Line 4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813" y="2994"/>
                    <a:ext cx="0" cy="572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</p:grpSp>
          </p:grpSp>
          <p:grpSp>
            <p:nvGrpSpPr>
              <p:cNvPr id="57405" name="Group 61"/>
              <p:cNvGrpSpPr>
                <a:grpSpLocks/>
              </p:cNvGrpSpPr>
              <p:nvPr/>
            </p:nvGrpSpPr>
            <p:grpSpPr bwMode="auto">
              <a:xfrm>
                <a:off x="3765" y="1159"/>
                <a:ext cx="1190" cy="570"/>
                <a:chOff x="3765" y="1159"/>
                <a:chExt cx="1190" cy="570"/>
              </a:xfrm>
            </p:grpSpPr>
            <p:sp>
              <p:nvSpPr>
                <p:cNvPr id="57396" name="Line 52"/>
                <p:cNvSpPr>
                  <a:spLocks noChangeShapeType="1"/>
                </p:cNvSpPr>
                <p:nvPr/>
              </p:nvSpPr>
              <p:spPr bwMode="auto">
                <a:xfrm flipV="1">
                  <a:off x="4361" y="1159"/>
                  <a:ext cx="0" cy="57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grpSp>
              <p:nvGrpSpPr>
                <p:cNvPr id="57404" name="Group 60"/>
                <p:cNvGrpSpPr>
                  <a:grpSpLocks/>
                </p:cNvGrpSpPr>
                <p:nvPr/>
              </p:nvGrpSpPr>
              <p:grpSpPr bwMode="auto">
                <a:xfrm>
                  <a:off x="3765" y="1159"/>
                  <a:ext cx="1190" cy="570"/>
                  <a:chOff x="3765" y="1159"/>
                  <a:chExt cx="1190" cy="570"/>
                </a:xfrm>
              </p:grpSpPr>
              <p:sp>
                <p:nvSpPr>
                  <p:cNvPr id="57397" name="Rectangle 53"/>
                  <p:cNvSpPr>
                    <a:spLocks noChangeArrowheads="1"/>
                  </p:cNvSpPr>
                  <p:nvPr/>
                </p:nvSpPr>
                <p:spPr bwMode="auto">
                  <a:xfrm>
                    <a:off x="3765" y="1167"/>
                    <a:ext cx="1190" cy="554"/>
                  </a:xfrm>
                  <a:prstGeom prst="rect">
                    <a:avLst/>
                  </a:prstGeom>
                  <a:noFill/>
                  <a:ln w="25400">
                    <a:solidFill>
                      <a:srgbClr val="FFFFFF"/>
                    </a:solidFill>
                    <a:miter lim="800000"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398" name="Line 5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907" y="1159"/>
                    <a:ext cx="0" cy="570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399" name="Line 55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059" y="1159"/>
                    <a:ext cx="0" cy="570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400" name="Line 56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209" y="1159"/>
                    <a:ext cx="0" cy="570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401" name="Line 57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511" y="1159"/>
                    <a:ext cx="0" cy="570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402" name="Line 58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661" y="1159"/>
                    <a:ext cx="0" cy="570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  <p:sp>
                <p:nvSpPr>
                  <p:cNvPr id="57403" name="Line 59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813" y="1159"/>
                    <a:ext cx="0" cy="570"/>
                  </a:xfrm>
                  <a:prstGeom prst="line">
                    <a:avLst/>
                  </a:prstGeom>
                  <a:noFill/>
                  <a:ln w="254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pPr eaLnBrk="0" latinLnBrk="0" hangingPunct="0"/>
                    <a:endParaRPr kumimoji="0" lang="ko-KR" altLang="en-US" sz="2400" smtClean="0">
                      <a:solidFill>
                        <a:srgbClr val="000000"/>
                      </a:solidFill>
                      <a:latin typeface="Times New Roman" pitchFamily="18" charset="0"/>
                      <a:ea typeface="+mn-ea"/>
                    </a:endParaRPr>
                  </a:p>
                </p:txBody>
              </p:sp>
            </p:grpSp>
          </p:grpSp>
          <p:grpSp>
            <p:nvGrpSpPr>
              <p:cNvPr id="57414" name="Group 70"/>
              <p:cNvGrpSpPr>
                <a:grpSpLocks/>
              </p:cNvGrpSpPr>
              <p:nvPr/>
            </p:nvGrpSpPr>
            <p:grpSpPr bwMode="auto">
              <a:xfrm>
                <a:off x="3229" y="1740"/>
                <a:ext cx="528" cy="1249"/>
                <a:chOff x="3229" y="1740"/>
                <a:chExt cx="528" cy="1249"/>
              </a:xfrm>
            </p:grpSpPr>
            <p:sp>
              <p:nvSpPr>
                <p:cNvPr id="57406" name="Rectangle 62"/>
                <p:cNvSpPr>
                  <a:spLocks noChangeArrowheads="1"/>
                </p:cNvSpPr>
                <p:nvPr/>
              </p:nvSpPr>
              <p:spPr bwMode="auto">
                <a:xfrm>
                  <a:off x="3237" y="1740"/>
                  <a:ext cx="512" cy="1249"/>
                </a:xfrm>
                <a:prstGeom prst="rect">
                  <a:avLst/>
                </a:prstGeom>
                <a:noFill/>
                <a:ln w="254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407" name="Line 63"/>
                <p:cNvSpPr>
                  <a:spLocks noChangeShapeType="1"/>
                </p:cNvSpPr>
                <p:nvPr/>
              </p:nvSpPr>
              <p:spPr bwMode="auto">
                <a:xfrm flipH="1">
                  <a:off x="3229" y="2826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408" name="Line 64"/>
                <p:cNvSpPr>
                  <a:spLocks noChangeShapeType="1"/>
                </p:cNvSpPr>
                <p:nvPr/>
              </p:nvSpPr>
              <p:spPr bwMode="auto">
                <a:xfrm flipH="1">
                  <a:off x="3229" y="2668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409" name="Line 65"/>
                <p:cNvSpPr>
                  <a:spLocks noChangeShapeType="1"/>
                </p:cNvSpPr>
                <p:nvPr/>
              </p:nvSpPr>
              <p:spPr bwMode="auto">
                <a:xfrm flipH="1">
                  <a:off x="3229" y="2512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410" name="Line 66"/>
                <p:cNvSpPr>
                  <a:spLocks noChangeShapeType="1"/>
                </p:cNvSpPr>
                <p:nvPr/>
              </p:nvSpPr>
              <p:spPr bwMode="auto">
                <a:xfrm flipH="1">
                  <a:off x="3229" y="2356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411" name="Line 67"/>
                <p:cNvSpPr>
                  <a:spLocks noChangeShapeType="1"/>
                </p:cNvSpPr>
                <p:nvPr/>
              </p:nvSpPr>
              <p:spPr bwMode="auto">
                <a:xfrm flipH="1">
                  <a:off x="3229" y="2201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412" name="Line 68"/>
                <p:cNvSpPr>
                  <a:spLocks noChangeShapeType="1"/>
                </p:cNvSpPr>
                <p:nvPr/>
              </p:nvSpPr>
              <p:spPr bwMode="auto">
                <a:xfrm flipH="1">
                  <a:off x="3229" y="2043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  <p:sp>
              <p:nvSpPr>
                <p:cNvPr id="57413" name="Line 69"/>
                <p:cNvSpPr>
                  <a:spLocks noChangeShapeType="1"/>
                </p:cNvSpPr>
                <p:nvPr/>
              </p:nvSpPr>
              <p:spPr bwMode="auto">
                <a:xfrm flipH="1">
                  <a:off x="3229" y="1888"/>
                  <a:ext cx="528" cy="0"/>
                </a:xfrm>
                <a:prstGeom prst="line">
                  <a:avLst/>
                </a:prstGeom>
                <a:noFill/>
                <a:ln w="25400">
                  <a:solidFill>
                    <a:srgbClr val="FFFFFF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eaLnBrk="0" latinLnBrk="0" hangingPunct="0"/>
                  <a:endParaRPr kumimoji="0" lang="ko-KR" altLang="en-US" sz="2400" smtClean="0">
                    <a:solidFill>
                      <a:srgbClr val="000000"/>
                    </a:solidFill>
                    <a:latin typeface="Times New Roman" pitchFamily="18" charset="0"/>
                    <a:ea typeface="+mn-ea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178606671"/>
      </p:ext>
    </p:extLst>
  </p:cSld>
  <p:clrMapOvr>
    <a:masterClrMapping/>
  </p:clrMapOvr>
  <p:transition spd="slow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519377" y="141288"/>
            <a:ext cx="8915400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Phase I</a:t>
            </a:r>
            <a:br>
              <a:rPr lang="en-US" altLang="ko-KR">
                <a:ea typeface="굴림" charset="-127"/>
              </a:rPr>
            </a:br>
            <a:r>
              <a:rPr lang="en-US" altLang="ko-KR">
                <a:ea typeface="굴림" charset="-127"/>
              </a:rPr>
              <a:t>Product Planning</a:t>
            </a:r>
          </a:p>
        </p:txBody>
      </p:sp>
      <p:sp>
        <p:nvSpPr>
          <p:cNvPr id="59395" name="Rectangle 3"/>
          <p:cNvSpPr>
            <a:spLocks noChangeArrowheads="1"/>
          </p:cNvSpPr>
          <p:nvPr/>
        </p:nvSpPr>
        <p:spPr bwMode="auto">
          <a:xfrm>
            <a:off x="3662554" y="1665288"/>
            <a:ext cx="3476913" cy="111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8300" tIns="184150" rIns="368300" bIns="184150">
            <a:spAutoFit/>
          </a:bodyPr>
          <a:lstStyle/>
          <a:p>
            <a:pPr algn="ctr" defTabSz="14630400" eaLnBrk="0" latinLnBrk="0" hangingPunct="0">
              <a:lnSpc>
                <a:spcPct val="7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Design</a:t>
            </a:r>
          </a:p>
          <a:p>
            <a:pPr algn="ctr" defTabSz="14630400" eaLnBrk="0" latinLnBrk="0" hangingPunct="0">
              <a:lnSpc>
                <a:spcPct val="7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59396" name="Rectangle 4"/>
          <p:cNvSpPr>
            <a:spLocks noChangeArrowheads="1"/>
          </p:cNvSpPr>
          <p:nvPr/>
        </p:nvSpPr>
        <p:spPr bwMode="auto">
          <a:xfrm rot="16200000">
            <a:off x="425042" y="3848438"/>
            <a:ext cx="3476914" cy="1159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8300" tIns="184150" rIns="368300" bIns="184150">
            <a:spAutoFit/>
          </a:bodyPr>
          <a:lstStyle/>
          <a:p>
            <a:pPr algn="ctr" defTabSz="14630400" eaLnBrk="0" latinLnBrk="0" hangingPunct="0">
              <a:lnSpc>
                <a:spcPct val="80000"/>
              </a:lnSpc>
            </a:pPr>
            <a:r>
              <a:rPr kumimoji="0" lang="en-US" altLang="ko-KR" sz="3200" b="1" dirty="0" smtClean="0">
                <a:solidFill>
                  <a:srgbClr val="FFFFFF"/>
                </a:solidFill>
                <a:latin typeface="Arial" charset="0"/>
                <a:ea typeface="굴림" charset="-127"/>
              </a:rPr>
              <a:t>Customer</a:t>
            </a:r>
          </a:p>
          <a:p>
            <a:pPr algn="ctr" defTabSz="14630400" eaLnBrk="0" latinLnBrk="0" hangingPunct="0">
              <a:lnSpc>
                <a:spcPct val="80000"/>
              </a:lnSpc>
            </a:pPr>
            <a:r>
              <a:rPr kumimoji="0" lang="en-US" altLang="ko-KR" sz="3200" b="1" dirty="0" smtClean="0">
                <a:solidFill>
                  <a:srgbClr val="FFFFFF"/>
                </a:solidFill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59397" name="Rectangle 5"/>
          <p:cNvSpPr>
            <a:spLocks noChangeArrowheads="1"/>
          </p:cNvSpPr>
          <p:nvPr/>
        </p:nvSpPr>
        <p:spPr bwMode="auto">
          <a:xfrm>
            <a:off x="2718991" y="2682875"/>
            <a:ext cx="5296958" cy="3606800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9398" name="Rectangle 6"/>
          <p:cNvSpPr>
            <a:spLocks noChangeArrowheads="1"/>
          </p:cNvSpPr>
          <p:nvPr/>
        </p:nvSpPr>
        <p:spPr bwMode="auto">
          <a:xfrm>
            <a:off x="1595970" y="2682875"/>
            <a:ext cx="1150541" cy="3606800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9399" name="Rectangle 7"/>
          <p:cNvSpPr>
            <a:spLocks noChangeArrowheads="1"/>
          </p:cNvSpPr>
          <p:nvPr/>
        </p:nvSpPr>
        <p:spPr bwMode="auto">
          <a:xfrm>
            <a:off x="2786063" y="1673234"/>
            <a:ext cx="5296958" cy="1082675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59400" name="Line 8"/>
          <p:cNvSpPr>
            <a:spLocks noChangeShapeType="1"/>
          </p:cNvSpPr>
          <p:nvPr/>
        </p:nvSpPr>
        <p:spPr bwMode="auto">
          <a:xfrm>
            <a:off x="2691475" y="4181475"/>
            <a:ext cx="132080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59403" name="Group 11"/>
          <p:cNvGrpSpPr>
            <a:grpSpLocks/>
          </p:cNvGrpSpPr>
          <p:nvPr/>
        </p:nvGrpSpPr>
        <p:grpSpPr bwMode="auto">
          <a:xfrm>
            <a:off x="3895329" y="2708275"/>
            <a:ext cx="290644" cy="1447800"/>
            <a:chOff x="2265" y="1706"/>
            <a:chExt cx="169" cy="912"/>
          </a:xfrm>
        </p:grpSpPr>
        <p:sp>
          <p:nvSpPr>
            <p:cNvPr id="59401" name="Line 9"/>
            <p:cNvSpPr>
              <a:spLocks noChangeShapeType="1"/>
            </p:cNvSpPr>
            <p:nvPr/>
          </p:nvSpPr>
          <p:spPr bwMode="auto">
            <a:xfrm>
              <a:off x="2349" y="1830"/>
              <a:ext cx="0" cy="788"/>
            </a:xfrm>
            <a:prstGeom prst="line">
              <a:avLst/>
            </a:prstGeom>
            <a:noFill/>
            <a:ln w="508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9402" name="Freeform 10"/>
            <p:cNvSpPr>
              <a:spLocks/>
            </p:cNvSpPr>
            <p:nvPr/>
          </p:nvSpPr>
          <p:spPr bwMode="auto">
            <a:xfrm>
              <a:off x="2265" y="1706"/>
              <a:ext cx="169" cy="161"/>
            </a:xfrm>
            <a:custGeom>
              <a:avLst/>
              <a:gdLst>
                <a:gd name="T0" fmla="*/ 168 w 169"/>
                <a:gd name="T1" fmla="*/ 160 h 161"/>
                <a:gd name="T2" fmla="*/ 0 w 169"/>
                <a:gd name="T3" fmla="*/ 160 h 161"/>
                <a:gd name="T4" fmla="*/ 84 w 169"/>
                <a:gd name="T5" fmla="*/ 0 h 161"/>
                <a:gd name="T6" fmla="*/ 168 w 169"/>
                <a:gd name="T7" fmla="*/ 16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161">
                  <a:moveTo>
                    <a:pt x="168" y="160"/>
                  </a:moveTo>
                  <a:lnTo>
                    <a:pt x="0" y="160"/>
                  </a:lnTo>
                  <a:lnTo>
                    <a:pt x="84" y="0"/>
                  </a:lnTo>
                  <a:lnTo>
                    <a:pt x="168" y="160"/>
                  </a:lnTo>
                </a:path>
              </a:pathLst>
            </a:custGeom>
            <a:solidFill>
              <a:srgbClr val="000000"/>
            </a:solidFill>
            <a:ln w="508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59406" name="Group 14"/>
          <p:cNvGrpSpPr>
            <a:grpSpLocks/>
          </p:cNvGrpSpPr>
          <p:nvPr/>
        </p:nvGrpSpPr>
        <p:grpSpPr bwMode="auto">
          <a:xfrm>
            <a:off x="6179217" y="2676525"/>
            <a:ext cx="290644" cy="3557588"/>
            <a:chOff x="3593" y="1686"/>
            <a:chExt cx="169" cy="2241"/>
          </a:xfrm>
        </p:grpSpPr>
        <p:sp>
          <p:nvSpPr>
            <p:cNvPr id="59404" name="Line 12"/>
            <p:cNvSpPr>
              <a:spLocks noChangeShapeType="1"/>
            </p:cNvSpPr>
            <p:nvPr/>
          </p:nvSpPr>
          <p:spPr bwMode="auto">
            <a:xfrm flipV="1">
              <a:off x="3677" y="1686"/>
              <a:ext cx="0" cy="2116"/>
            </a:xfrm>
            <a:prstGeom prst="line">
              <a:avLst/>
            </a:prstGeom>
            <a:noFill/>
            <a:ln w="508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59405" name="Freeform 13"/>
            <p:cNvSpPr>
              <a:spLocks/>
            </p:cNvSpPr>
            <p:nvPr/>
          </p:nvSpPr>
          <p:spPr bwMode="auto">
            <a:xfrm>
              <a:off x="3593" y="3766"/>
              <a:ext cx="169" cy="161"/>
            </a:xfrm>
            <a:custGeom>
              <a:avLst/>
              <a:gdLst>
                <a:gd name="T0" fmla="*/ 168 w 169"/>
                <a:gd name="T1" fmla="*/ 0 h 161"/>
                <a:gd name="T2" fmla="*/ 0 w 169"/>
                <a:gd name="T3" fmla="*/ 0 h 161"/>
                <a:gd name="T4" fmla="*/ 84 w 169"/>
                <a:gd name="T5" fmla="*/ 160 h 161"/>
                <a:gd name="T6" fmla="*/ 168 w 169"/>
                <a:gd name="T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161">
                  <a:moveTo>
                    <a:pt x="168" y="0"/>
                  </a:moveTo>
                  <a:lnTo>
                    <a:pt x="0" y="0"/>
                  </a:lnTo>
                  <a:lnTo>
                    <a:pt x="84" y="160"/>
                  </a:lnTo>
                  <a:lnTo>
                    <a:pt x="168" y="0"/>
                  </a:lnTo>
                </a:path>
              </a:pathLst>
            </a:custGeom>
            <a:solidFill>
              <a:srgbClr val="000000"/>
            </a:solidFill>
            <a:ln w="508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1447728"/>
      </p:ext>
    </p:extLst>
  </p:cSld>
  <p:clrMapOvr>
    <a:masterClrMapping/>
  </p:clrMapOvr>
  <p:transition spd="slow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title"/>
          </p:nvPr>
        </p:nvSpPr>
        <p:spPr>
          <a:xfrm>
            <a:off x="519377" y="141288"/>
            <a:ext cx="8915400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Phase II</a:t>
            </a:r>
            <a:br>
              <a:rPr lang="en-US" altLang="ko-KR">
                <a:ea typeface="굴림" charset="-127"/>
              </a:rPr>
            </a:br>
            <a:r>
              <a:rPr lang="en-US" altLang="ko-KR">
                <a:ea typeface="굴림" charset="-127"/>
              </a:rPr>
              <a:t>Part Development</a:t>
            </a:r>
          </a:p>
        </p:txBody>
      </p:sp>
      <p:sp>
        <p:nvSpPr>
          <p:cNvPr id="61443" name="Rectangle 3"/>
          <p:cNvSpPr>
            <a:spLocks noChangeArrowheads="1"/>
          </p:cNvSpPr>
          <p:nvPr/>
        </p:nvSpPr>
        <p:spPr bwMode="auto">
          <a:xfrm>
            <a:off x="3549596" y="1628784"/>
            <a:ext cx="3704540" cy="1209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8300" tIns="184150" rIns="368300" bIns="184150">
            <a:spAutoFit/>
          </a:bodyPr>
          <a:lstStyle/>
          <a:p>
            <a:pPr algn="ctr" defTabSz="14630400" eaLnBrk="0" latinLnBrk="0" hangingPunct="0">
              <a:lnSpc>
                <a:spcPct val="8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art Quality</a:t>
            </a:r>
          </a:p>
          <a:p>
            <a:pPr algn="ctr" defTabSz="14630400" eaLnBrk="0" latinLnBrk="0" hangingPunct="0">
              <a:lnSpc>
                <a:spcPct val="8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haracteristics</a:t>
            </a:r>
          </a:p>
        </p:txBody>
      </p:sp>
      <p:sp>
        <p:nvSpPr>
          <p:cNvPr id="61444" name="Rectangle 4"/>
          <p:cNvSpPr>
            <a:spLocks noChangeArrowheads="1"/>
          </p:cNvSpPr>
          <p:nvPr/>
        </p:nvSpPr>
        <p:spPr bwMode="auto">
          <a:xfrm rot="16200000">
            <a:off x="425043" y="3906366"/>
            <a:ext cx="3476914" cy="1209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8300" tIns="184150" rIns="368300" bIns="184150">
            <a:spAutoFit/>
          </a:bodyPr>
          <a:lstStyle/>
          <a:p>
            <a:pPr algn="ctr" defTabSz="14630400" eaLnBrk="0" latinLnBrk="0" hangingPunct="0">
              <a:lnSpc>
                <a:spcPct val="8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Design</a:t>
            </a:r>
          </a:p>
          <a:p>
            <a:pPr algn="ctr" defTabSz="14630400" eaLnBrk="0" latinLnBrk="0" hangingPunct="0">
              <a:lnSpc>
                <a:spcPct val="8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61445" name="Rectangle 5"/>
          <p:cNvSpPr>
            <a:spLocks noChangeArrowheads="1"/>
          </p:cNvSpPr>
          <p:nvPr/>
        </p:nvSpPr>
        <p:spPr bwMode="auto">
          <a:xfrm>
            <a:off x="2718991" y="2682875"/>
            <a:ext cx="5296958" cy="3606800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1446" name="Rectangle 6"/>
          <p:cNvSpPr>
            <a:spLocks noChangeArrowheads="1"/>
          </p:cNvSpPr>
          <p:nvPr/>
        </p:nvSpPr>
        <p:spPr bwMode="auto">
          <a:xfrm>
            <a:off x="1595970" y="2682875"/>
            <a:ext cx="1150541" cy="3606800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1447" name="Rectangle 7"/>
          <p:cNvSpPr>
            <a:spLocks noChangeArrowheads="1"/>
          </p:cNvSpPr>
          <p:nvPr/>
        </p:nvSpPr>
        <p:spPr bwMode="auto">
          <a:xfrm>
            <a:off x="2718991" y="1625609"/>
            <a:ext cx="5296958" cy="1082675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1448" name="Line 8"/>
          <p:cNvSpPr>
            <a:spLocks noChangeShapeType="1"/>
          </p:cNvSpPr>
          <p:nvPr/>
        </p:nvSpPr>
        <p:spPr bwMode="auto">
          <a:xfrm>
            <a:off x="2691475" y="4181475"/>
            <a:ext cx="132080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61451" name="Group 11"/>
          <p:cNvGrpSpPr>
            <a:grpSpLocks/>
          </p:cNvGrpSpPr>
          <p:nvPr/>
        </p:nvGrpSpPr>
        <p:grpSpPr bwMode="auto">
          <a:xfrm>
            <a:off x="3895329" y="2708275"/>
            <a:ext cx="290644" cy="1447800"/>
            <a:chOff x="2265" y="1706"/>
            <a:chExt cx="169" cy="912"/>
          </a:xfrm>
        </p:grpSpPr>
        <p:sp>
          <p:nvSpPr>
            <p:cNvPr id="61449" name="Line 9"/>
            <p:cNvSpPr>
              <a:spLocks noChangeShapeType="1"/>
            </p:cNvSpPr>
            <p:nvPr/>
          </p:nvSpPr>
          <p:spPr bwMode="auto">
            <a:xfrm>
              <a:off x="2349" y="1830"/>
              <a:ext cx="0" cy="788"/>
            </a:xfrm>
            <a:prstGeom prst="line">
              <a:avLst/>
            </a:prstGeom>
            <a:noFill/>
            <a:ln w="508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61450" name="Freeform 10"/>
            <p:cNvSpPr>
              <a:spLocks/>
            </p:cNvSpPr>
            <p:nvPr/>
          </p:nvSpPr>
          <p:spPr bwMode="auto">
            <a:xfrm>
              <a:off x="2265" y="1706"/>
              <a:ext cx="169" cy="161"/>
            </a:xfrm>
            <a:custGeom>
              <a:avLst/>
              <a:gdLst>
                <a:gd name="T0" fmla="*/ 168 w 169"/>
                <a:gd name="T1" fmla="*/ 160 h 161"/>
                <a:gd name="T2" fmla="*/ 0 w 169"/>
                <a:gd name="T3" fmla="*/ 160 h 161"/>
                <a:gd name="T4" fmla="*/ 84 w 169"/>
                <a:gd name="T5" fmla="*/ 0 h 161"/>
                <a:gd name="T6" fmla="*/ 168 w 169"/>
                <a:gd name="T7" fmla="*/ 16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161">
                  <a:moveTo>
                    <a:pt x="168" y="160"/>
                  </a:moveTo>
                  <a:lnTo>
                    <a:pt x="0" y="160"/>
                  </a:lnTo>
                  <a:lnTo>
                    <a:pt x="84" y="0"/>
                  </a:lnTo>
                  <a:lnTo>
                    <a:pt x="168" y="160"/>
                  </a:lnTo>
                </a:path>
              </a:pathLst>
            </a:custGeom>
            <a:solidFill>
              <a:srgbClr val="000000"/>
            </a:solidFill>
            <a:ln w="508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61454" name="Group 14"/>
          <p:cNvGrpSpPr>
            <a:grpSpLocks/>
          </p:cNvGrpSpPr>
          <p:nvPr/>
        </p:nvGrpSpPr>
        <p:grpSpPr bwMode="auto">
          <a:xfrm>
            <a:off x="6179217" y="2676525"/>
            <a:ext cx="290644" cy="3557588"/>
            <a:chOff x="3593" y="1686"/>
            <a:chExt cx="169" cy="2241"/>
          </a:xfrm>
        </p:grpSpPr>
        <p:sp>
          <p:nvSpPr>
            <p:cNvPr id="61452" name="Line 12"/>
            <p:cNvSpPr>
              <a:spLocks noChangeShapeType="1"/>
            </p:cNvSpPr>
            <p:nvPr/>
          </p:nvSpPr>
          <p:spPr bwMode="auto">
            <a:xfrm flipV="1">
              <a:off x="3677" y="1686"/>
              <a:ext cx="0" cy="2116"/>
            </a:xfrm>
            <a:prstGeom prst="line">
              <a:avLst/>
            </a:prstGeom>
            <a:noFill/>
            <a:ln w="508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61453" name="Freeform 13"/>
            <p:cNvSpPr>
              <a:spLocks/>
            </p:cNvSpPr>
            <p:nvPr/>
          </p:nvSpPr>
          <p:spPr bwMode="auto">
            <a:xfrm>
              <a:off x="3593" y="3766"/>
              <a:ext cx="169" cy="161"/>
            </a:xfrm>
            <a:custGeom>
              <a:avLst/>
              <a:gdLst>
                <a:gd name="T0" fmla="*/ 168 w 169"/>
                <a:gd name="T1" fmla="*/ 0 h 161"/>
                <a:gd name="T2" fmla="*/ 0 w 169"/>
                <a:gd name="T3" fmla="*/ 0 h 161"/>
                <a:gd name="T4" fmla="*/ 84 w 169"/>
                <a:gd name="T5" fmla="*/ 160 h 161"/>
                <a:gd name="T6" fmla="*/ 168 w 169"/>
                <a:gd name="T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161">
                  <a:moveTo>
                    <a:pt x="168" y="0"/>
                  </a:moveTo>
                  <a:lnTo>
                    <a:pt x="0" y="0"/>
                  </a:lnTo>
                  <a:lnTo>
                    <a:pt x="84" y="160"/>
                  </a:lnTo>
                  <a:lnTo>
                    <a:pt x="168" y="0"/>
                  </a:lnTo>
                </a:path>
              </a:pathLst>
            </a:custGeom>
            <a:solidFill>
              <a:srgbClr val="000000"/>
            </a:solidFill>
            <a:ln w="508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8658610"/>
      </p:ext>
    </p:extLst>
  </p:cSld>
  <p:clrMapOvr>
    <a:masterClrMapping/>
  </p:clrMapOvr>
  <p:transition spd="slow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ChangeArrowheads="1"/>
          </p:cNvSpPr>
          <p:nvPr/>
        </p:nvSpPr>
        <p:spPr bwMode="auto">
          <a:xfrm>
            <a:off x="519377" y="141288"/>
            <a:ext cx="8915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/>
          <a:p>
            <a:pPr algn="ctr" eaLnBrk="0" latinLnBrk="0" hangingPunct="0"/>
            <a:r>
              <a:rPr kumimoji="0" lang="en-US" altLang="ko-KR" sz="4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hase III</a:t>
            </a:r>
            <a:br>
              <a:rPr kumimoji="0" lang="en-US" altLang="ko-KR" sz="4400" b="1" smtClean="0">
                <a:solidFill>
                  <a:srgbClr val="FFFFFF"/>
                </a:solidFill>
                <a:latin typeface="Arial" charset="0"/>
                <a:ea typeface="굴림" charset="-127"/>
              </a:rPr>
            </a:br>
            <a:r>
              <a:rPr kumimoji="0" lang="en-US" altLang="ko-KR" sz="4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ocess Planning</a:t>
            </a:r>
          </a:p>
        </p:txBody>
      </p:sp>
      <p:sp>
        <p:nvSpPr>
          <p:cNvPr id="63491" name="Rectangle 3"/>
          <p:cNvSpPr>
            <a:spLocks noChangeArrowheads="1"/>
          </p:cNvSpPr>
          <p:nvPr/>
        </p:nvSpPr>
        <p:spPr bwMode="auto">
          <a:xfrm>
            <a:off x="3798809" y="1665288"/>
            <a:ext cx="3204402" cy="111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8300" tIns="184150" rIns="368300" bIns="184150">
            <a:spAutoFit/>
          </a:bodyPr>
          <a:lstStyle/>
          <a:p>
            <a:pPr algn="ctr" defTabSz="14630400" eaLnBrk="0" latinLnBrk="0" hangingPunct="0">
              <a:lnSpc>
                <a:spcPct val="7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Key Process</a:t>
            </a:r>
          </a:p>
          <a:p>
            <a:pPr algn="ctr" defTabSz="14630400" eaLnBrk="0" latinLnBrk="0" hangingPunct="0">
              <a:lnSpc>
                <a:spcPct val="7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perations</a:t>
            </a:r>
          </a:p>
        </p:txBody>
      </p:sp>
      <p:sp>
        <p:nvSpPr>
          <p:cNvPr id="63492" name="Rectangle 4"/>
          <p:cNvSpPr>
            <a:spLocks noChangeArrowheads="1"/>
          </p:cNvSpPr>
          <p:nvPr/>
        </p:nvSpPr>
        <p:spPr bwMode="auto">
          <a:xfrm rot="16200000">
            <a:off x="354228" y="3908747"/>
            <a:ext cx="3704539" cy="1209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8300" tIns="184150" rIns="368300" bIns="184150">
            <a:spAutoFit/>
          </a:bodyPr>
          <a:lstStyle/>
          <a:p>
            <a:pPr algn="ctr" defTabSz="14630400" eaLnBrk="0" latinLnBrk="0" hangingPunct="0">
              <a:lnSpc>
                <a:spcPct val="8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art Quality</a:t>
            </a:r>
          </a:p>
          <a:p>
            <a:pPr algn="ctr" defTabSz="14630400" eaLnBrk="0" latinLnBrk="0" hangingPunct="0">
              <a:lnSpc>
                <a:spcPct val="8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Characteristics</a:t>
            </a:r>
          </a:p>
        </p:txBody>
      </p:sp>
      <p:sp>
        <p:nvSpPr>
          <p:cNvPr id="63493" name="Rectangle 5"/>
          <p:cNvSpPr>
            <a:spLocks noChangeArrowheads="1"/>
          </p:cNvSpPr>
          <p:nvPr/>
        </p:nvSpPr>
        <p:spPr bwMode="auto">
          <a:xfrm>
            <a:off x="2718991" y="2682875"/>
            <a:ext cx="5296958" cy="3606800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3494" name="Rectangle 6"/>
          <p:cNvSpPr>
            <a:spLocks noChangeArrowheads="1"/>
          </p:cNvSpPr>
          <p:nvPr/>
        </p:nvSpPr>
        <p:spPr bwMode="auto">
          <a:xfrm>
            <a:off x="1595970" y="2682875"/>
            <a:ext cx="1150541" cy="3606800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3495" name="Rectangle 7"/>
          <p:cNvSpPr>
            <a:spLocks noChangeArrowheads="1"/>
          </p:cNvSpPr>
          <p:nvPr/>
        </p:nvSpPr>
        <p:spPr bwMode="auto">
          <a:xfrm>
            <a:off x="2718991" y="1625609"/>
            <a:ext cx="5296958" cy="1082675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3496" name="Line 8"/>
          <p:cNvSpPr>
            <a:spLocks noChangeShapeType="1"/>
          </p:cNvSpPr>
          <p:nvPr/>
        </p:nvSpPr>
        <p:spPr bwMode="auto">
          <a:xfrm>
            <a:off x="2691475" y="4181475"/>
            <a:ext cx="132080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63499" name="Group 11"/>
          <p:cNvGrpSpPr>
            <a:grpSpLocks/>
          </p:cNvGrpSpPr>
          <p:nvPr/>
        </p:nvGrpSpPr>
        <p:grpSpPr bwMode="auto">
          <a:xfrm>
            <a:off x="3895329" y="2708275"/>
            <a:ext cx="290644" cy="1447800"/>
            <a:chOff x="2265" y="1706"/>
            <a:chExt cx="169" cy="912"/>
          </a:xfrm>
        </p:grpSpPr>
        <p:sp>
          <p:nvSpPr>
            <p:cNvPr id="63497" name="Line 9"/>
            <p:cNvSpPr>
              <a:spLocks noChangeShapeType="1"/>
            </p:cNvSpPr>
            <p:nvPr/>
          </p:nvSpPr>
          <p:spPr bwMode="auto">
            <a:xfrm>
              <a:off x="2349" y="1830"/>
              <a:ext cx="0" cy="788"/>
            </a:xfrm>
            <a:prstGeom prst="line">
              <a:avLst/>
            </a:prstGeom>
            <a:noFill/>
            <a:ln w="508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63498" name="Freeform 10"/>
            <p:cNvSpPr>
              <a:spLocks/>
            </p:cNvSpPr>
            <p:nvPr/>
          </p:nvSpPr>
          <p:spPr bwMode="auto">
            <a:xfrm>
              <a:off x="2265" y="1706"/>
              <a:ext cx="169" cy="161"/>
            </a:xfrm>
            <a:custGeom>
              <a:avLst/>
              <a:gdLst>
                <a:gd name="T0" fmla="*/ 168 w 169"/>
                <a:gd name="T1" fmla="*/ 160 h 161"/>
                <a:gd name="T2" fmla="*/ 0 w 169"/>
                <a:gd name="T3" fmla="*/ 160 h 161"/>
                <a:gd name="T4" fmla="*/ 84 w 169"/>
                <a:gd name="T5" fmla="*/ 0 h 161"/>
                <a:gd name="T6" fmla="*/ 168 w 169"/>
                <a:gd name="T7" fmla="*/ 16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161">
                  <a:moveTo>
                    <a:pt x="168" y="160"/>
                  </a:moveTo>
                  <a:lnTo>
                    <a:pt x="0" y="160"/>
                  </a:lnTo>
                  <a:lnTo>
                    <a:pt x="84" y="0"/>
                  </a:lnTo>
                  <a:lnTo>
                    <a:pt x="168" y="160"/>
                  </a:lnTo>
                </a:path>
              </a:pathLst>
            </a:custGeom>
            <a:solidFill>
              <a:srgbClr val="000000"/>
            </a:solidFill>
            <a:ln w="508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63502" name="Group 14"/>
          <p:cNvGrpSpPr>
            <a:grpSpLocks/>
          </p:cNvGrpSpPr>
          <p:nvPr/>
        </p:nvGrpSpPr>
        <p:grpSpPr bwMode="auto">
          <a:xfrm>
            <a:off x="6179217" y="2676525"/>
            <a:ext cx="290644" cy="3557588"/>
            <a:chOff x="3593" y="1686"/>
            <a:chExt cx="169" cy="2241"/>
          </a:xfrm>
        </p:grpSpPr>
        <p:sp>
          <p:nvSpPr>
            <p:cNvPr id="63500" name="Line 12"/>
            <p:cNvSpPr>
              <a:spLocks noChangeShapeType="1"/>
            </p:cNvSpPr>
            <p:nvPr/>
          </p:nvSpPr>
          <p:spPr bwMode="auto">
            <a:xfrm flipV="1">
              <a:off x="3677" y="1686"/>
              <a:ext cx="0" cy="2116"/>
            </a:xfrm>
            <a:prstGeom prst="line">
              <a:avLst/>
            </a:prstGeom>
            <a:noFill/>
            <a:ln w="508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63501" name="Freeform 13"/>
            <p:cNvSpPr>
              <a:spLocks/>
            </p:cNvSpPr>
            <p:nvPr/>
          </p:nvSpPr>
          <p:spPr bwMode="auto">
            <a:xfrm>
              <a:off x="3593" y="3766"/>
              <a:ext cx="169" cy="161"/>
            </a:xfrm>
            <a:custGeom>
              <a:avLst/>
              <a:gdLst>
                <a:gd name="T0" fmla="*/ 168 w 169"/>
                <a:gd name="T1" fmla="*/ 0 h 161"/>
                <a:gd name="T2" fmla="*/ 0 w 169"/>
                <a:gd name="T3" fmla="*/ 0 h 161"/>
                <a:gd name="T4" fmla="*/ 84 w 169"/>
                <a:gd name="T5" fmla="*/ 160 h 161"/>
                <a:gd name="T6" fmla="*/ 168 w 169"/>
                <a:gd name="T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161">
                  <a:moveTo>
                    <a:pt x="168" y="0"/>
                  </a:moveTo>
                  <a:lnTo>
                    <a:pt x="0" y="0"/>
                  </a:lnTo>
                  <a:lnTo>
                    <a:pt x="84" y="160"/>
                  </a:lnTo>
                  <a:lnTo>
                    <a:pt x="168" y="0"/>
                  </a:lnTo>
                </a:path>
              </a:pathLst>
            </a:custGeom>
            <a:solidFill>
              <a:srgbClr val="000000"/>
            </a:solidFill>
            <a:ln w="508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4672388"/>
      </p:ext>
    </p:extLst>
  </p:cSld>
  <p:clrMapOvr>
    <a:masterClrMapping/>
  </p:clrMapOvr>
  <p:transition spd="slow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ChangeArrowheads="1"/>
          </p:cNvSpPr>
          <p:nvPr/>
        </p:nvSpPr>
        <p:spPr bwMode="auto">
          <a:xfrm>
            <a:off x="519377" y="141288"/>
            <a:ext cx="89154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/>
          <a:p>
            <a:pPr algn="ctr" eaLnBrk="0" latinLnBrk="0" hangingPunct="0"/>
            <a:r>
              <a:rPr kumimoji="0" lang="en-US" altLang="ko-KR" sz="4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hase IV</a:t>
            </a:r>
            <a:br>
              <a:rPr kumimoji="0" lang="en-US" altLang="ko-KR" sz="4400" b="1" smtClean="0">
                <a:solidFill>
                  <a:srgbClr val="FFFFFF"/>
                </a:solidFill>
                <a:latin typeface="Arial" charset="0"/>
                <a:ea typeface="굴림" charset="-127"/>
              </a:rPr>
            </a:br>
            <a:r>
              <a:rPr kumimoji="0" lang="en-US" altLang="ko-KR" sz="44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oduction Planning</a:t>
            </a:r>
          </a:p>
        </p:txBody>
      </p:sp>
      <p:sp>
        <p:nvSpPr>
          <p:cNvPr id="65539" name="Rectangle 3"/>
          <p:cNvSpPr>
            <a:spLocks noChangeArrowheads="1"/>
          </p:cNvSpPr>
          <p:nvPr/>
        </p:nvSpPr>
        <p:spPr bwMode="auto">
          <a:xfrm>
            <a:off x="3662554" y="1665288"/>
            <a:ext cx="3476913" cy="111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8300" tIns="184150" rIns="368300" bIns="184150">
            <a:spAutoFit/>
          </a:bodyPr>
          <a:lstStyle/>
          <a:p>
            <a:pPr algn="ctr" defTabSz="14630400" eaLnBrk="0" latinLnBrk="0" hangingPunct="0">
              <a:lnSpc>
                <a:spcPct val="7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Production</a:t>
            </a:r>
          </a:p>
          <a:p>
            <a:pPr algn="ctr" defTabSz="14630400" eaLnBrk="0" latinLnBrk="0" hangingPunct="0">
              <a:lnSpc>
                <a:spcPct val="7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Requirements</a:t>
            </a:r>
          </a:p>
        </p:txBody>
      </p:sp>
      <p:sp>
        <p:nvSpPr>
          <p:cNvPr id="65540" name="Rectangle 4"/>
          <p:cNvSpPr>
            <a:spLocks noChangeArrowheads="1"/>
          </p:cNvSpPr>
          <p:nvPr/>
        </p:nvSpPr>
        <p:spPr bwMode="auto">
          <a:xfrm rot="16200000">
            <a:off x="580215" y="3942902"/>
            <a:ext cx="3204402" cy="111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68300" tIns="184150" rIns="368300" bIns="184150">
            <a:spAutoFit/>
          </a:bodyPr>
          <a:lstStyle/>
          <a:p>
            <a:pPr algn="ctr" defTabSz="14630400" eaLnBrk="0" latinLnBrk="0" hangingPunct="0">
              <a:lnSpc>
                <a:spcPct val="7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Key Process</a:t>
            </a:r>
          </a:p>
          <a:p>
            <a:pPr algn="ctr" defTabSz="14630400" eaLnBrk="0" latinLnBrk="0" hangingPunct="0">
              <a:lnSpc>
                <a:spcPct val="75000"/>
              </a:lnSpc>
            </a:pPr>
            <a:r>
              <a:rPr kumimoji="0" lang="en-US" altLang="ko-KR" sz="3200" b="1" smtClean="0">
                <a:solidFill>
                  <a:srgbClr val="FFFFFF"/>
                </a:solidFill>
                <a:latin typeface="Arial" charset="0"/>
                <a:ea typeface="굴림" charset="-127"/>
              </a:rPr>
              <a:t>Operations</a:t>
            </a:r>
          </a:p>
        </p:txBody>
      </p:sp>
      <p:sp>
        <p:nvSpPr>
          <p:cNvPr id="65541" name="Rectangle 5"/>
          <p:cNvSpPr>
            <a:spLocks noChangeArrowheads="1"/>
          </p:cNvSpPr>
          <p:nvPr/>
        </p:nvSpPr>
        <p:spPr bwMode="auto">
          <a:xfrm>
            <a:off x="2718991" y="2682875"/>
            <a:ext cx="5296958" cy="3606800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5542" name="Rectangle 6"/>
          <p:cNvSpPr>
            <a:spLocks noChangeArrowheads="1"/>
          </p:cNvSpPr>
          <p:nvPr/>
        </p:nvSpPr>
        <p:spPr bwMode="auto">
          <a:xfrm>
            <a:off x="1595970" y="2682875"/>
            <a:ext cx="1150541" cy="3606800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5543" name="Rectangle 7"/>
          <p:cNvSpPr>
            <a:spLocks noChangeArrowheads="1"/>
          </p:cNvSpPr>
          <p:nvPr/>
        </p:nvSpPr>
        <p:spPr bwMode="auto">
          <a:xfrm>
            <a:off x="2718991" y="1625609"/>
            <a:ext cx="5296958" cy="1082675"/>
          </a:xfrm>
          <a:prstGeom prst="rect">
            <a:avLst/>
          </a:prstGeom>
          <a:noFill/>
          <a:ln w="50800">
            <a:solidFill>
              <a:srgbClr val="FFFF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5544" name="Line 8"/>
          <p:cNvSpPr>
            <a:spLocks noChangeShapeType="1"/>
          </p:cNvSpPr>
          <p:nvPr/>
        </p:nvSpPr>
        <p:spPr bwMode="auto">
          <a:xfrm>
            <a:off x="2691475" y="4181475"/>
            <a:ext cx="1320800" cy="0"/>
          </a:xfrm>
          <a:prstGeom prst="line">
            <a:avLst/>
          </a:prstGeom>
          <a:noFill/>
          <a:ln w="508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latinLnBrk="0" hangingPunct="0"/>
            <a:endParaRPr kumimoji="0" lang="ko-KR" altLang="en-US" sz="2400" smtClean="0">
              <a:solidFill>
                <a:srgbClr val="000000"/>
              </a:solidFill>
              <a:latin typeface="Times New Roman" pitchFamily="18" charset="0"/>
              <a:ea typeface="+mn-ea"/>
            </a:endParaRPr>
          </a:p>
        </p:txBody>
      </p:sp>
      <p:grpSp>
        <p:nvGrpSpPr>
          <p:cNvPr id="65547" name="Group 11"/>
          <p:cNvGrpSpPr>
            <a:grpSpLocks/>
          </p:cNvGrpSpPr>
          <p:nvPr/>
        </p:nvGrpSpPr>
        <p:grpSpPr bwMode="auto">
          <a:xfrm>
            <a:off x="3895329" y="2708275"/>
            <a:ext cx="290644" cy="1447800"/>
            <a:chOff x="2265" y="1706"/>
            <a:chExt cx="169" cy="912"/>
          </a:xfrm>
        </p:grpSpPr>
        <p:sp>
          <p:nvSpPr>
            <p:cNvPr id="65545" name="Line 9"/>
            <p:cNvSpPr>
              <a:spLocks noChangeShapeType="1"/>
            </p:cNvSpPr>
            <p:nvPr/>
          </p:nvSpPr>
          <p:spPr bwMode="auto">
            <a:xfrm>
              <a:off x="2349" y="1830"/>
              <a:ext cx="0" cy="788"/>
            </a:xfrm>
            <a:prstGeom prst="line">
              <a:avLst/>
            </a:prstGeom>
            <a:noFill/>
            <a:ln w="508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65546" name="Freeform 10"/>
            <p:cNvSpPr>
              <a:spLocks/>
            </p:cNvSpPr>
            <p:nvPr/>
          </p:nvSpPr>
          <p:spPr bwMode="auto">
            <a:xfrm>
              <a:off x="2265" y="1706"/>
              <a:ext cx="169" cy="161"/>
            </a:xfrm>
            <a:custGeom>
              <a:avLst/>
              <a:gdLst>
                <a:gd name="T0" fmla="*/ 168 w 169"/>
                <a:gd name="T1" fmla="*/ 160 h 161"/>
                <a:gd name="T2" fmla="*/ 0 w 169"/>
                <a:gd name="T3" fmla="*/ 160 h 161"/>
                <a:gd name="T4" fmla="*/ 84 w 169"/>
                <a:gd name="T5" fmla="*/ 0 h 161"/>
                <a:gd name="T6" fmla="*/ 168 w 169"/>
                <a:gd name="T7" fmla="*/ 16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161">
                  <a:moveTo>
                    <a:pt x="168" y="160"/>
                  </a:moveTo>
                  <a:lnTo>
                    <a:pt x="0" y="160"/>
                  </a:lnTo>
                  <a:lnTo>
                    <a:pt x="84" y="0"/>
                  </a:lnTo>
                  <a:lnTo>
                    <a:pt x="168" y="160"/>
                  </a:lnTo>
                </a:path>
              </a:pathLst>
            </a:custGeom>
            <a:solidFill>
              <a:srgbClr val="000000"/>
            </a:solidFill>
            <a:ln w="508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grpSp>
        <p:nvGrpSpPr>
          <p:cNvPr id="65550" name="Group 14"/>
          <p:cNvGrpSpPr>
            <a:grpSpLocks/>
          </p:cNvGrpSpPr>
          <p:nvPr/>
        </p:nvGrpSpPr>
        <p:grpSpPr bwMode="auto">
          <a:xfrm>
            <a:off x="6179217" y="2676525"/>
            <a:ext cx="290644" cy="3557588"/>
            <a:chOff x="3593" y="1686"/>
            <a:chExt cx="169" cy="2241"/>
          </a:xfrm>
        </p:grpSpPr>
        <p:sp>
          <p:nvSpPr>
            <p:cNvPr id="65548" name="Line 12"/>
            <p:cNvSpPr>
              <a:spLocks noChangeShapeType="1"/>
            </p:cNvSpPr>
            <p:nvPr/>
          </p:nvSpPr>
          <p:spPr bwMode="auto">
            <a:xfrm flipV="1">
              <a:off x="3677" y="1686"/>
              <a:ext cx="0" cy="2116"/>
            </a:xfrm>
            <a:prstGeom prst="line">
              <a:avLst/>
            </a:prstGeom>
            <a:noFill/>
            <a:ln w="508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  <p:sp>
          <p:nvSpPr>
            <p:cNvPr id="65549" name="Freeform 13"/>
            <p:cNvSpPr>
              <a:spLocks/>
            </p:cNvSpPr>
            <p:nvPr/>
          </p:nvSpPr>
          <p:spPr bwMode="auto">
            <a:xfrm>
              <a:off x="3593" y="3766"/>
              <a:ext cx="169" cy="161"/>
            </a:xfrm>
            <a:custGeom>
              <a:avLst/>
              <a:gdLst>
                <a:gd name="T0" fmla="*/ 168 w 169"/>
                <a:gd name="T1" fmla="*/ 0 h 161"/>
                <a:gd name="T2" fmla="*/ 0 w 169"/>
                <a:gd name="T3" fmla="*/ 0 h 161"/>
                <a:gd name="T4" fmla="*/ 84 w 169"/>
                <a:gd name="T5" fmla="*/ 160 h 161"/>
                <a:gd name="T6" fmla="*/ 168 w 169"/>
                <a:gd name="T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9" h="161">
                  <a:moveTo>
                    <a:pt x="168" y="0"/>
                  </a:moveTo>
                  <a:lnTo>
                    <a:pt x="0" y="0"/>
                  </a:lnTo>
                  <a:lnTo>
                    <a:pt x="84" y="160"/>
                  </a:lnTo>
                  <a:lnTo>
                    <a:pt x="168" y="0"/>
                  </a:lnTo>
                </a:path>
              </a:pathLst>
            </a:custGeom>
            <a:solidFill>
              <a:srgbClr val="000000"/>
            </a:solidFill>
            <a:ln w="50800" cap="rnd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0" latinLnBrk="0" hangingPunct="0"/>
              <a:endParaRPr kumimoji="0" lang="ko-KR" altLang="en-US" sz="2400" smtClean="0">
                <a:solidFill>
                  <a:srgbClr val="000000"/>
                </a:solidFill>
                <a:latin typeface="Times New Roman" pitchFamily="18" charset="0"/>
                <a:ea typeface="+mn-ea"/>
              </a:endParaRPr>
            </a:p>
          </p:txBody>
        </p:sp>
      </p:grpSp>
      <p:sp>
        <p:nvSpPr>
          <p:cNvPr id="65551" name="Rectangle 15"/>
          <p:cNvSpPr>
            <a:spLocks noChangeArrowheads="1"/>
          </p:cNvSpPr>
          <p:nvPr/>
        </p:nvSpPr>
        <p:spPr bwMode="auto">
          <a:xfrm>
            <a:off x="3780107" y="6384933"/>
            <a:ext cx="2986395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eaLnBrk="0" latinLnBrk="0" hangingPunct="0"/>
            <a:r>
              <a:rPr kumimoji="0" lang="en-US" altLang="ko-KR" sz="2400" b="1" smtClean="0">
                <a:solidFill>
                  <a:srgbClr val="FAFD00"/>
                </a:solidFill>
                <a:latin typeface="Arial" charset="0"/>
                <a:ea typeface="굴림" charset="-127"/>
              </a:rPr>
              <a:t>Production Launch</a:t>
            </a:r>
          </a:p>
        </p:txBody>
      </p:sp>
    </p:spTree>
    <p:extLst>
      <p:ext uri="{BB962C8B-B14F-4D97-AF65-F5344CB8AC3E}">
        <p14:creationId xmlns:p14="http://schemas.microsoft.com/office/powerpoint/2010/main" val="202343656"/>
      </p:ext>
    </p:extLst>
  </p:cSld>
  <p:clrMapOvr>
    <a:masterClrMapping/>
  </p:clrMapOvr>
  <p:transition spd="slow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title"/>
          </p:nvPr>
        </p:nvSpPr>
        <p:spPr>
          <a:xfrm>
            <a:off x="495300" y="0"/>
            <a:ext cx="8915400" cy="1143000"/>
          </a:xfrm>
          <a:noFill/>
          <a:ln/>
        </p:spPr>
        <p:txBody>
          <a:bodyPr/>
          <a:lstStyle/>
          <a:p>
            <a:r>
              <a:rPr lang="en-US" altLang="ko-KR">
                <a:ea typeface="굴림" charset="-127"/>
              </a:rPr>
              <a:t>QFD Summary</a:t>
            </a:r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95300" y="1219200"/>
            <a:ext cx="9328150" cy="4114800"/>
          </a:xfrm>
          <a:noFill/>
          <a:ln/>
        </p:spPr>
        <p:txBody>
          <a:bodyPr/>
          <a:lstStyle/>
          <a:p>
            <a:r>
              <a:rPr lang="en-US" altLang="ko-KR" sz="2800" dirty="0">
                <a:ea typeface="굴림" charset="-127"/>
              </a:rPr>
              <a:t>Orderly Way Of Obtaining Information &amp; Presenting It</a:t>
            </a:r>
          </a:p>
          <a:p>
            <a:r>
              <a:rPr lang="en-US" altLang="ko-KR" sz="2800" dirty="0">
                <a:ea typeface="굴림" charset="-127"/>
              </a:rPr>
              <a:t>Shorter Product Development Cycle</a:t>
            </a:r>
          </a:p>
          <a:p>
            <a:r>
              <a:rPr lang="en-US" altLang="ko-KR" sz="2800" dirty="0">
                <a:ea typeface="굴림" charset="-127"/>
              </a:rPr>
              <a:t>Considerably Reduced Start-Up Costs</a:t>
            </a:r>
          </a:p>
          <a:p>
            <a:r>
              <a:rPr lang="en-US" altLang="ko-KR" sz="2800" dirty="0">
                <a:ea typeface="굴림" charset="-127"/>
              </a:rPr>
              <a:t>Fewer Engineering Changes</a:t>
            </a:r>
          </a:p>
          <a:p>
            <a:r>
              <a:rPr lang="en-US" altLang="ko-KR" sz="2800" dirty="0">
                <a:ea typeface="굴림" charset="-127"/>
              </a:rPr>
              <a:t>Reduced Chance Of Oversights During Design Process</a:t>
            </a:r>
          </a:p>
          <a:p>
            <a:r>
              <a:rPr lang="en-US" altLang="ko-KR" sz="2800" dirty="0">
                <a:ea typeface="굴림" charset="-127"/>
              </a:rPr>
              <a:t>Environment Of Teamwork</a:t>
            </a:r>
          </a:p>
          <a:p>
            <a:r>
              <a:rPr lang="en-US" altLang="ko-KR" sz="2800" dirty="0">
                <a:ea typeface="굴림" charset="-127"/>
              </a:rPr>
              <a:t>Consensus Decisions</a:t>
            </a:r>
          </a:p>
          <a:p>
            <a:r>
              <a:rPr lang="en-US" altLang="ko-KR" sz="2800" dirty="0">
                <a:ea typeface="굴림" charset="-127"/>
              </a:rPr>
              <a:t>Preserves Everything In Writing</a:t>
            </a:r>
          </a:p>
        </p:txBody>
      </p:sp>
    </p:spTree>
    <p:extLst>
      <p:ext uri="{BB962C8B-B14F-4D97-AF65-F5344CB8AC3E}">
        <p14:creationId xmlns:p14="http://schemas.microsoft.com/office/powerpoint/2010/main" val="2456643994"/>
      </p:ext>
    </p:extLst>
  </p:cSld>
  <p:clrMapOvr>
    <a:masterClrMapping/>
  </p:clrMapOvr>
  <p:transition spd="slow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직사각형 36"/>
          <p:cNvSpPr/>
          <p:nvPr/>
        </p:nvSpPr>
        <p:spPr>
          <a:xfrm>
            <a:off x="0" y="0"/>
            <a:ext cx="9906000" cy="112474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84515" y="238795"/>
            <a:ext cx="375179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3600" b="1" i="1" dirty="0" smtClean="0">
                <a:solidFill>
                  <a:prstClr val="black"/>
                </a:solidFill>
                <a:latin typeface="Myriad Pro" pitchFamily="34" charset="0"/>
                <a:ea typeface="맑은 고딕"/>
              </a:rPr>
              <a:t>Beyond the House</a:t>
            </a:r>
            <a:endParaRPr kumimoji="0" lang="en-US" altLang="ko-KR" sz="2800" i="1" dirty="0" smtClean="0">
              <a:solidFill>
                <a:prstClr val="black"/>
              </a:solidFill>
              <a:latin typeface="Myriad Pro" pitchFamily="34" charset="0"/>
              <a:ea typeface="맑은 고딕"/>
            </a:endParaRPr>
          </a:p>
        </p:txBody>
      </p:sp>
      <p:sp>
        <p:nvSpPr>
          <p:cNvPr id="34" name="Freeform 22"/>
          <p:cNvSpPr>
            <a:spLocks/>
          </p:cNvSpPr>
          <p:nvPr/>
        </p:nvSpPr>
        <p:spPr bwMode="auto">
          <a:xfrm>
            <a:off x="272480" y="238788"/>
            <a:ext cx="234026" cy="216024"/>
          </a:xfrm>
          <a:custGeom>
            <a:avLst/>
            <a:gdLst>
              <a:gd name="T0" fmla="*/ 35 w 108"/>
              <a:gd name="T1" fmla="*/ 0 h 108"/>
              <a:gd name="T2" fmla="*/ 0 w 108"/>
              <a:gd name="T3" fmla="*/ 35 h 108"/>
              <a:gd name="T4" fmla="*/ 0 w 108"/>
              <a:gd name="T5" fmla="*/ 108 h 108"/>
              <a:gd name="T6" fmla="*/ 42 w 108"/>
              <a:gd name="T7" fmla="*/ 108 h 108"/>
              <a:gd name="T8" fmla="*/ 42 w 108"/>
              <a:gd name="T9" fmla="*/ 41 h 108"/>
              <a:gd name="T10" fmla="*/ 108 w 108"/>
              <a:gd name="T11" fmla="*/ 41 h 108"/>
              <a:gd name="T12" fmla="*/ 108 w 108"/>
              <a:gd name="T13" fmla="*/ 0 h 108"/>
              <a:gd name="T14" fmla="*/ 35 w 108"/>
              <a:gd name="T15" fmla="*/ 0 h 1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08" h="108">
                <a:moveTo>
                  <a:pt x="35" y="0"/>
                </a:moveTo>
                <a:cubicBezTo>
                  <a:pt x="16" y="0"/>
                  <a:pt x="0" y="16"/>
                  <a:pt x="0" y="35"/>
                </a:cubicBezTo>
                <a:cubicBezTo>
                  <a:pt x="0" y="108"/>
                  <a:pt x="0" y="108"/>
                  <a:pt x="0" y="108"/>
                </a:cubicBezTo>
                <a:cubicBezTo>
                  <a:pt x="42" y="108"/>
                  <a:pt x="42" y="108"/>
                  <a:pt x="42" y="108"/>
                </a:cubicBezTo>
                <a:cubicBezTo>
                  <a:pt x="42" y="41"/>
                  <a:pt x="42" y="41"/>
                  <a:pt x="42" y="41"/>
                </a:cubicBezTo>
                <a:cubicBezTo>
                  <a:pt x="108" y="41"/>
                  <a:pt x="108" y="41"/>
                  <a:pt x="108" y="41"/>
                </a:cubicBezTo>
                <a:cubicBezTo>
                  <a:pt x="108" y="0"/>
                  <a:pt x="108" y="0"/>
                  <a:pt x="108" y="0"/>
                </a:cubicBezTo>
                <a:lnTo>
                  <a:pt x="35" y="0"/>
                </a:lnTo>
                <a:close/>
              </a:path>
            </a:pathLst>
          </a:custGeom>
          <a:solidFill>
            <a:srgbClr val="C6106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18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51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4818860" y="6357938"/>
            <a:ext cx="1062831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fld id="{E51B8DFC-98AD-456E-A7DE-E5C716B468C2}" type="slidenum">
              <a:rPr lang="en-US" altLang="ko-KR" smtClean="0">
                <a:solidFill>
                  <a:srgbClr val="000000"/>
                </a:solidFill>
                <a:latin typeface="Times New Roman" pitchFamily="18" charset="0"/>
                <a:ea typeface="산돌고딕 L" pitchFamily="50" charset="-127"/>
                <a:cs typeface="Times New Roman" pitchFamily="18" charset="0"/>
              </a:rPr>
              <a:pPr eaLnBrk="1" hangingPunct="1"/>
              <a:t>29</a:t>
            </a:fld>
            <a:endParaRPr lang="en-US" altLang="ko-KR" dirty="0" smtClean="0">
              <a:solidFill>
                <a:srgbClr val="000000"/>
              </a:solidFill>
              <a:latin typeface="Times New Roman" pitchFamily="18" charset="0"/>
              <a:ea typeface="산돌고딕 L" pitchFamily="50" charset="-127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0532" y="1412780"/>
            <a:ext cx="84249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C61065"/>
              </a:buClr>
              <a:buFont typeface="Arial" pitchFamily="34" charset="0"/>
              <a:buChar char="•"/>
            </a:pPr>
            <a:r>
              <a:rPr kumimoji="0" lang="en-US" altLang="ko-KR" sz="1800" dirty="0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Setting target value for closing energy gives us a goal, but not a door.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C61065"/>
              </a:buClr>
              <a:buFont typeface="Arial" pitchFamily="34" charset="0"/>
              <a:buChar char="•"/>
            </a:pPr>
            <a:r>
              <a:rPr kumimoji="0" lang="en-US" altLang="ko-KR" sz="1800" dirty="0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To get the door, we need the </a:t>
            </a:r>
            <a:r>
              <a:rPr kumimoji="0" lang="en-US" altLang="ko-KR" sz="1800" dirty="0" smtClean="0">
                <a:solidFill>
                  <a:srgbClr val="FF0000"/>
                </a:solidFill>
                <a:latin typeface="Arial" pitchFamily="34" charset="0"/>
                <a:ea typeface="맑은 고딕"/>
                <a:cs typeface="Arial" pitchFamily="34" charset="0"/>
              </a:rPr>
              <a:t>right parts</a:t>
            </a:r>
            <a:r>
              <a:rPr kumimoji="0" lang="en-US" altLang="ko-KR" sz="1800" dirty="0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, the </a:t>
            </a:r>
            <a:r>
              <a:rPr kumimoji="0" lang="en-US" altLang="ko-KR" sz="1800" dirty="0" smtClean="0">
                <a:solidFill>
                  <a:srgbClr val="FF0000"/>
                </a:solidFill>
                <a:latin typeface="Arial" pitchFamily="34" charset="0"/>
                <a:ea typeface="맑은 고딕"/>
                <a:cs typeface="Arial" pitchFamily="34" charset="0"/>
              </a:rPr>
              <a:t>right process </a:t>
            </a:r>
            <a:r>
              <a:rPr kumimoji="0" lang="en-US" altLang="ko-KR" sz="1800" dirty="0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to manufacture the parts and assemble the product, and the </a:t>
            </a:r>
            <a:r>
              <a:rPr kumimoji="0" lang="en-US" altLang="ko-KR" sz="1800" dirty="0" smtClean="0">
                <a:solidFill>
                  <a:srgbClr val="FF0000"/>
                </a:solidFill>
                <a:latin typeface="Arial" pitchFamily="34" charset="0"/>
                <a:ea typeface="맑은 고딕"/>
                <a:cs typeface="Arial" pitchFamily="34" charset="0"/>
              </a:rPr>
              <a:t>right production plan </a:t>
            </a:r>
            <a:r>
              <a:rPr kumimoji="0" lang="en-US" altLang="ko-KR" sz="1800" dirty="0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to get it built.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C61065"/>
              </a:buClr>
              <a:buFont typeface="Arial" pitchFamily="34" charset="0"/>
              <a:buChar char="•"/>
            </a:pPr>
            <a:r>
              <a:rPr kumimoji="0" lang="en-US" altLang="ko-KR" sz="1800" dirty="0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If our team is truly interfunctional, we can eventually take the “</a:t>
            </a:r>
            <a:r>
              <a:rPr kumimoji="0" lang="en-US" altLang="ko-KR" sz="1800" dirty="0" err="1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hows</a:t>
            </a:r>
            <a:r>
              <a:rPr kumimoji="0" lang="en-US" altLang="ko-KR" sz="1800" dirty="0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” from our house of quality and make them the “</a:t>
            </a:r>
            <a:r>
              <a:rPr kumimoji="0" lang="en-US" altLang="ko-KR" sz="1800" dirty="0" err="1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whats</a:t>
            </a:r>
            <a:r>
              <a:rPr kumimoji="0" lang="en-US" altLang="ko-KR" sz="1800" dirty="0" smtClean="0">
                <a:solidFill>
                  <a:prstClr val="black"/>
                </a:solidFill>
                <a:latin typeface="Arial" pitchFamily="34" charset="0"/>
                <a:ea typeface="맑은 고딕"/>
                <a:cs typeface="Arial" pitchFamily="34" charset="0"/>
              </a:rPr>
              <a:t>” of another house.</a:t>
            </a:r>
            <a:endParaRPr kumimoji="0" lang="en-US" altLang="ko-KR" sz="1800" dirty="0">
              <a:solidFill>
                <a:prstClr val="black"/>
              </a:solidFill>
              <a:latin typeface="Arial" pitchFamily="34" charset="0"/>
              <a:ea typeface="맑은 고딕"/>
              <a:cs typeface="Arial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6597" y="3499501"/>
            <a:ext cx="7492083" cy="2605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46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>
                <a:solidFill>
                  <a:srgbClr val="202A38"/>
                </a:solidFill>
              </a:rPr>
              <a:t>Stage-Gate </a:t>
            </a:r>
            <a:r>
              <a:rPr kumimoji="1" lang="en-US" altLang="ko-KR" dirty="0" smtClean="0">
                <a:solidFill>
                  <a:srgbClr val="202A38"/>
                </a:solidFill>
              </a:rPr>
              <a:t>Process (2/4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ko-KR" dirty="0" smtClean="0"/>
          </a:p>
          <a:p>
            <a:endParaRPr lang="en-US" altLang="ko-KR" dirty="0"/>
          </a:p>
          <a:p>
            <a:endParaRPr lang="en-US" altLang="ko-KR" dirty="0" smtClean="0"/>
          </a:p>
          <a:p>
            <a:endParaRPr lang="en-US" altLang="ko-KR" dirty="0"/>
          </a:p>
          <a:p>
            <a:endParaRPr lang="en-US" altLang="ko-KR" dirty="0" smtClean="0"/>
          </a:p>
          <a:p>
            <a:r>
              <a:rPr lang="en-US" altLang="ko-KR" dirty="0" smtClean="0"/>
              <a:t>Stage 1: Scoping</a:t>
            </a:r>
          </a:p>
          <a:p>
            <a:pPr lvl="1"/>
            <a:r>
              <a:rPr lang="en-US" altLang="ko-KR" dirty="0" smtClean="0"/>
              <a:t>A </a:t>
            </a:r>
            <a:r>
              <a:rPr lang="en-US" altLang="ko-KR" dirty="0"/>
              <a:t>quick investigation and sculpting of the </a:t>
            </a:r>
            <a:r>
              <a:rPr lang="en-US" altLang="ko-KR" dirty="0" smtClean="0"/>
              <a:t>project</a:t>
            </a:r>
            <a:endParaRPr lang="en-US" altLang="ko-KR" dirty="0"/>
          </a:p>
          <a:p>
            <a:r>
              <a:rPr lang="en-US" altLang="ko-KR" dirty="0" smtClean="0"/>
              <a:t>Stage 2: </a:t>
            </a:r>
            <a:r>
              <a:rPr lang="en-US" altLang="ko-KR" dirty="0" smtClean="0"/>
              <a:t>Building business case</a:t>
            </a:r>
            <a:endParaRPr lang="en-US" altLang="ko-KR" dirty="0" smtClean="0"/>
          </a:p>
          <a:p>
            <a:pPr lvl="1"/>
            <a:r>
              <a:rPr lang="en-US" altLang="ko-KR" dirty="0" smtClean="0"/>
              <a:t>The </a:t>
            </a:r>
            <a:r>
              <a:rPr lang="en-US" altLang="ko-KR" dirty="0"/>
              <a:t>detailed homework and up-front investigation work leading to a business case; a defined product, a business justification and a detailed plan of action for the next </a:t>
            </a:r>
            <a:r>
              <a:rPr lang="en-US" altLang="ko-KR" dirty="0" smtClean="0"/>
              <a:t>stages</a:t>
            </a:r>
            <a:endParaRPr lang="en-US" altLang="ko-KR" dirty="0"/>
          </a:p>
          <a:p>
            <a:r>
              <a:rPr lang="en-US" altLang="ko-KR" dirty="0" smtClean="0"/>
              <a:t>Stage 3: Development</a:t>
            </a:r>
          </a:p>
          <a:p>
            <a:pPr lvl="1"/>
            <a:r>
              <a:rPr lang="en-US" altLang="ko-KR" dirty="0" smtClean="0"/>
              <a:t>The </a:t>
            </a:r>
            <a:r>
              <a:rPr lang="en-US" altLang="ko-KR" dirty="0"/>
              <a:t>actual design and development of the new </a:t>
            </a:r>
            <a:r>
              <a:rPr lang="en-US" altLang="ko-KR" dirty="0" smtClean="0"/>
              <a:t>product</a:t>
            </a:r>
          </a:p>
          <a:p>
            <a:pPr lvl="1"/>
            <a:r>
              <a:rPr lang="en-US" altLang="ko-KR" dirty="0" smtClean="0"/>
              <a:t>The </a:t>
            </a:r>
            <a:r>
              <a:rPr lang="en-US" altLang="ko-KR" dirty="0"/>
              <a:t>manufacturing (or operations) process is mapped out, the marketing launch and operating plans are developed, and the test plans for the next stage are </a:t>
            </a:r>
            <a:r>
              <a:rPr lang="en-US" altLang="ko-KR" dirty="0" smtClean="0"/>
              <a:t>defined</a:t>
            </a:r>
            <a:endParaRPr lang="en-US" altLang="ko-KR" dirty="0"/>
          </a:p>
          <a:p>
            <a:r>
              <a:rPr lang="en-US" altLang="ko-KR" dirty="0"/>
              <a:t>Stage </a:t>
            </a:r>
            <a:r>
              <a:rPr lang="en-US" altLang="ko-KR" dirty="0" smtClean="0"/>
              <a:t>4: Testing and validation</a:t>
            </a:r>
          </a:p>
          <a:p>
            <a:pPr lvl="1"/>
            <a:r>
              <a:rPr lang="en-US" altLang="ko-KR" dirty="0" smtClean="0"/>
              <a:t>The </a:t>
            </a:r>
            <a:r>
              <a:rPr lang="en-US" altLang="ko-KR" dirty="0"/>
              <a:t>verification and validation of the proposed new product, its marketing and </a:t>
            </a:r>
            <a:r>
              <a:rPr lang="en-US" altLang="ko-KR" dirty="0" smtClean="0"/>
              <a:t>production</a:t>
            </a:r>
            <a:endParaRPr lang="en-US" altLang="ko-KR" dirty="0"/>
          </a:p>
          <a:p>
            <a:r>
              <a:rPr lang="en-US" altLang="ko-KR" dirty="0" smtClean="0"/>
              <a:t>Stage 5: Launch</a:t>
            </a:r>
          </a:p>
          <a:p>
            <a:pPr lvl="1"/>
            <a:r>
              <a:rPr lang="en-US" altLang="ko-KR" dirty="0" smtClean="0"/>
              <a:t>Full </a:t>
            </a:r>
            <a:r>
              <a:rPr lang="en-US" altLang="ko-KR" dirty="0"/>
              <a:t>commercialization of the product - the beginning of full production and commercial launch and </a:t>
            </a:r>
            <a:r>
              <a:rPr lang="en-US" altLang="ko-KR" dirty="0" smtClean="0"/>
              <a:t>selling</a:t>
            </a:r>
            <a:endParaRPr lang="en-US" altLang="ko-KR" dirty="0"/>
          </a:p>
          <a:p>
            <a:endParaRPr lang="ko-KR" altLang="en-US" dirty="0"/>
          </a:p>
        </p:txBody>
      </p:sp>
      <p:grpSp>
        <p:nvGrpSpPr>
          <p:cNvPr id="28" name="그룹 27"/>
          <p:cNvGrpSpPr/>
          <p:nvPr/>
        </p:nvGrpSpPr>
        <p:grpSpPr>
          <a:xfrm>
            <a:off x="1100573" y="800708"/>
            <a:ext cx="7730270" cy="1519208"/>
            <a:chOff x="575999" y="920650"/>
            <a:chExt cx="8640000" cy="1697995"/>
          </a:xfrm>
        </p:grpSpPr>
        <p:sp>
          <p:nvSpPr>
            <p:cNvPr id="4" name="직사각형 3"/>
            <p:cNvSpPr/>
            <p:nvPr/>
          </p:nvSpPr>
          <p:spPr>
            <a:xfrm>
              <a:off x="575999" y="920650"/>
              <a:ext cx="8640000" cy="1697995"/>
            </a:xfrm>
            <a:prstGeom prst="rect">
              <a:avLst/>
            </a:prstGeom>
            <a:noFill/>
            <a:ln w="1905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ko-KR" altLang="en-US" sz="110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" name="타원 4"/>
            <p:cNvSpPr/>
            <p:nvPr/>
          </p:nvSpPr>
          <p:spPr>
            <a:xfrm>
              <a:off x="765729" y="1362303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iscovery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</a:t>
              </a:r>
              <a:endParaRPr lang="ko-KR" altLang="en-US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6" name="다이아몬드 5"/>
            <p:cNvSpPr/>
            <p:nvPr/>
          </p:nvSpPr>
          <p:spPr>
            <a:xfrm>
              <a:off x="1518123" y="1362303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ko-KR" altLang="en-US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7" name="직사각형 6"/>
            <p:cNvSpPr/>
            <p:nvPr/>
          </p:nvSpPr>
          <p:spPr>
            <a:xfrm>
              <a:off x="1502324" y="930175"/>
              <a:ext cx="679599" cy="4127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Idea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creen</a:t>
              </a:r>
              <a:endParaRPr lang="ko-KR" altLang="en-US" sz="900" b="1" kern="0" dirty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8" name="모서리가 둥근 직사각형 7"/>
            <p:cNvSpPr/>
            <p:nvPr/>
          </p:nvSpPr>
          <p:spPr>
            <a:xfrm>
              <a:off x="2198518" y="1362303"/>
              <a:ext cx="648000" cy="720000"/>
            </a:xfrm>
            <a:prstGeom prst="roundRect">
              <a:avLst/>
            </a:prstGeom>
            <a:solidFill>
              <a:schemeClr val="tx2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1</a:t>
              </a:r>
              <a:endParaRPr lang="ko-KR" altLang="en-US" sz="9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9" name="다이아몬드 8"/>
            <p:cNvSpPr/>
            <p:nvPr/>
          </p:nvSpPr>
          <p:spPr>
            <a:xfrm>
              <a:off x="2878912" y="1362303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ko-KR" altLang="en-US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0" name="직사각형 9"/>
            <p:cNvSpPr/>
            <p:nvPr/>
          </p:nvSpPr>
          <p:spPr>
            <a:xfrm>
              <a:off x="2863113" y="930175"/>
              <a:ext cx="679599" cy="4127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econd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creen</a:t>
              </a:r>
              <a:endParaRPr lang="ko-KR" altLang="en-US" sz="900" b="1" kern="0" dirty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1" name="모서리가 둥근 직사각형 10"/>
            <p:cNvSpPr/>
            <p:nvPr/>
          </p:nvSpPr>
          <p:spPr>
            <a:xfrm>
              <a:off x="3559307" y="1362303"/>
              <a:ext cx="648000" cy="720000"/>
            </a:xfrm>
            <a:prstGeom prst="roundRect">
              <a:avLst/>
            </a:prstGeom>
            <a:solidFill>
              <a:schemeClr val="accent2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</a:t>
              </a:r>
              <a:r>
                <a:rPr lang="en-US" altLang="ko-KR" sz="9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ko-KR" altLang="en-US" sz="9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2" name="다이아몬드 11"/>
            <p:cNvSpPr/>
            <p:nvPr/>
          </p:nvSpPr>
          <p:spPr>
            <a:xfrm>
              <a:off x="4239701" y="1362303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ko-KR" altLang="en-US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3" name="직사각형 12"/>
            <p:cNvSpPr/>
            <p:nvPr/>
          </p:nvSpPr>
          <p:spPr>
            <a:xfrm>
              <a:off x="4111428" y="930175"/>
              <a:ext cx="904548" cy="4127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o Develop</a:t>
              </a:r>
            </a:p>
          </p:txBody>
        </p:sp>
        <p:sp>
          <p:nvSpPr>
            <p:cNvPr id="14" name="모서리가 둥근 직사각형 13"/>
            <p:cNvSpPr/>
            <p:nvPr/>
          </p:nvSpPr>
          <p:spPr>
            <a:xfrm>
              <a:off x="4920096" y="1362303"/>
              <a:ext cx="648000" cy="720000"/>
            </a:xfrm>
            <a:prstGeom prst="roundRect">
              <a:avLst/>
            </a:prstGeom>
            <a:solidFill>
              <a:srgbClr val="92D050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3</a:t>
              </a:r>
              <a:endParaRPr lang="ko-KR" altLang="en-US" sz="9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5" name="다이아몬드 14"/>
            <p:cNvSpPr/>
            <p:nvPr/>
          </p:nvSpPr>
          <p:spPr>
            <a:xfrm>
              <a:off x="5600490" y="1362303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ko-KR" altLang="en-US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6" name="직사각형 15"/>
            <p:cNvSpPr/>
            <p:nvPr/>
          </p:nvSpPr>
          <p:spPr>
            <a:xfrm>
              <a:off x="5478264" y="930175"/>
              <a:ext cx="892453" cy="4127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 to Test</a:t>
              </a:r>
            </a:p>
          </p:txBody>
        </p:sp>
        <p:sp>
          <p:nvSpPr>
            <p:cNvPr id="17" name="모서리가 둥근 직사각형 16"/>
            <p:cNvSpPr/>
            <p:nvPr/>
          </p:nvSpPr>
          <p:spPr>
            <a:xfrm>
              <a:off x="6280885" y="1362303"/>
              <a:ext cx="648000" cy="720000"/>
            </a:xfrm>
            <a:prstGeom prst="roundRect">
              <a:avLst/>
            </a:prstGeom>
            <a:solidFill>
              <a:schemeClr val="tx1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4</a:t>
              </a:r>
              <a:endParaRPr lang="ko-KR" altLang="en-US" sz="9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8" name="다이아몬드 17"/>
            <p:cNvSpPr/>
            <p:nvPr/>
          </p:nvSpPr>
          <p:spPr>
            <a:xfrm>
              <a:off x="6961279" y="1362303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bg1">
                  <a:lumMod val="9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ko-KR" altLang="en-US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19" name="직사각형 18"/>
            <p:cNvSpPr/>
            <p:nvPr/>
          </p:nvSpPr>
          <p:spPr>
            <a:xfrm>
              <a:off x="6874122" y="930175"/>
              <a:ext cx="822315" cy="56759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 to Launch</a:t>
              </a:r>
            </a:p>
          </p:txBody>
        </p:sp>
        <p:sp>
          <p:nvSpPr>
            <p:cNvPr id="20" name="모서리가 둥근 직사각형 19"/>
            <p:cNvSpPr/>
            <p:nvPr/>
          </p:nvSpPr>
          <p:spPr>
            <a:xfrm>
              <a:off x="7641674" y="1362303"/>
              <a:ext cx="648000" cy="720000"/>
            </a:xfrm>
            <a:prstGeom prst="roundRect">
              <a:avLst/>
            </a:prstGeom>
            <a:solidFill>
              <a:srgbClr val="FF0000"/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5</a:t>
              </a:r>
              <a:endParaRPr lang="ko-KR" altLang="en-US" sz="900" b="1" kern="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1" name="타원 20"/>
            <p:cNvSpPr/>
            <p:nvPr/>
          </p:nvSpPr>
          <p:spPr>
            <a:xfrm>
              <a:off x="8306269" y="1362303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36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cs typeface="Tahoma" pitchFamily="34" charset="0"/>
                </a:rPr>
                <a:t>$</a:t>
              </a:r>
              <a:endParaRPr lang="ko-KR" altLang="en-US" sz="36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22" name="직사각형 21"/>
            <p:cNvSpPr/>
            <p:nvPr/>
          </p:nvSpPr>
          <p:spPr>
            <a:xfrm>
              <a:off x="1975267" y="2154311"/>
              <a:ext cx="1094502" cy="2579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coping</a:t>
              </a:r>
            </a:p>
          </p:txBody>
        </p:sp>
        <p:sp>
          <p:nvSpPr>
            <p:cNvPr id="23" name="직사각형 22"/>
            <p:cNvSpPr/>
            <p:nvPr/>
          </p:nvSpPr>
          <p:spPr>
            <a:xfrm>
              <a:off x="3269485" y="2161757"/>
              <a:ext cx="1227644" cy="4127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Building Business Case</a:t>
              </a:r>
              <a:endParaRPr lang="en-US" altLang="ko-KR" sz="9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" name="직사각형 23"/>
            <p:cNvSpPr/>
            <p:nvPr/>
          </p:nvSpPr>
          <p:spPr>
            <a:xfrm>
              <a:off x="4696844" y="2154311"/>
              <a:ext cx="1094502" cy="4127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endParaRPr lang="en-US" altLang="ko-KR" sz="9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velopment</a:t>
              </a:r>
            </a:p>
          </p:txBody>
        </p:sp>
        <p:sp>
          <p:nvSpPr>
            <p:cNvPr id="25" name="직사각형 24"/>
            <p:cNvSpPr/>
            <p:nvPr/>
          </p:nvSpPr>
          <p:spPr>
            <a:xfrm>
              <a:off x="6057634" y="2154311"/>
              <a:ext cx="1094502" cy="4127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esting &amp;</a:t>
              </a: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Validation</a:t>
              </a:r>
            </a:p>
          </p:txBody>
        </p:sp>
        <p:sp>
          <p:nvSpPr>
            <p:cNvPr id="26" name="직사각형 25"/>
            <p:cNvSpPr/>
            <p:nvPr/>
          </p:nvSpPr>
          <p:spPr>
            <a:xfrm>
              <a:off x="7418423" y="2154311"/>
              <a:ext cx="1094502" cy="4127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endParaRPr lang="en-US" altLang="ko-KR" sz="900" b="1" kern="0" dirty="0" smtClean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Launch</a:t>
              </a: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8168767" y="930175"/>
              <a:ext cx="995002" cy="56759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ost-Launch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Re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3738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 smtClean="0">
                <a:solidFill>
                  <a:srgbClr val="202A38"/>
                </a:solidFill>
              </a:rPr>
              <a:t>Stage-Gate Process (3/4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altLang="ko-KR" dirty="0" smtClean="0"/>
          </a:p>
          <a:p>
            <a:endParaRPr lang="en-US" altLang="ko-KR" dirty="0"/>
          </a:p>
          <a:p>
            <a:endParaRPr lang="en-US" altLang="ko-KR" dirty="0" smtClean="0"/>
          </a:p>
          <a:p>
            <a:endParaRPr lang="en-US" altLang="ko-KR" dirty="0"/>
          </a:p>
          <a:p>
            <a:endParaRPr lang="en-US" altLang="ko-KR" dirty="0" smtClean="0"/>
          </a:p>
          <a:p>
            <a:r>
              <a:rPr lang="en-US" altLang="ko-KR" dirty="0"/>
              <a:t>Common roles of </a:t>
            </a:r>
            <a:r>
              <a:rPr lang="en-US" altLang="ko-KR" dirty="0" smtClean="0"/>
              <a:t>gate</a:t>
            </a:r>
          </a:p>
          <a:p>
            <a:pPr lvl="1"/>
            <a:r>
              <a:rPr lang="en-US" altLang="ko-KR" dirty="0"/>
              <a:t>Quality-control checkpoints: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Checking </a:t>
            </a:r>
            <a:r>
              <a:rPr lang="en-US" altLang="ko-KR" dirty="0"/>
              <a:t>whether this project is being executed in a </a:t>
            </a:r>
            <a:r>
              <a:rPr lang="en-US" altLang="ko-KR" dirty="0" smtClean="0"/>
              <a:t>quality</a:t>
            </a:r>
            <a:r>
              <a:rPr lang="en-US" altLang="ko-KR" dirty="0"/>
              <a:t> </a:t>
            </a:r>
            <a:r>
              <a:rPr lang="en-US" altLang="ko-KR" dirty="0" smtClean="0"/>
              <a:t>fashion</a:t>
            </a:r>
            <a:endParaRPr lang="en-US" altLang="ko-KR" dirty="0"/>
          </a:p>
          <a:p>
            <a:pPr lvl="1"/>
            <a:r>
              <a:rPr lang="en-US" altLang="ko-KR" dirty="0"/>
              <a:t>Go/Kill and prioritization decision points: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Gates </a:t>
            </a:r>
            <a:r>
              <a:rPr lang="en-US" altLang="ko-KR" dirty="0"/>
              <a:t>provide the funnels where mediocre projects are successively culled </a:t>
            </a:r>
            <a:r>
              <a:rPr lang="en-US" altLang="ko-KR" dirty="0" smtClean="0"/>
              <a:t>out</a:t>
            </a:r>
            <a:endParaRPr lang="en-US" altLang="ko-KR" dirty="0"/>
          </a:p>
          <a:p>
            <a:pPr lvl="1"/>
            <a:r>
              <a:rPr lang="en-US" altLang="ko-KR" dirty="0"/>
              <a:t>Path forward for the next stage decision points: </a:t>
            </a:r>
            <a:r>
              <a:rPr lang="en-US" altLang="ko-KR" dirty="0" smtClean="0"/>
              <a:t/>
            </a:r>
            <a:br>
              <a:rPr lang="en-US" altLang="ko-KR" dirty="0" smtClean="0"/>
            </a:br>
            <a:r>
              <a:rPr lang="en-US" altLang="ko-KR" dirty="0" smtClean="0"/>
              <a:t>Gate </a:t>
            </a:r>
            <a:r>
              <a:rPr lang="en-US" altLang="ko-KR" dirty="0"/>
              <a:t>meetings are usually staffed by senior managers from different functions, who own the resources the project leader and team require for the next </a:t>
            </a:r>
            <a:r>
              <a:rPr lang="en-US" altLang="ko-KR" dirty="0" smtClean="0"/>
              <a:t>stage</a:t>
            </a:r>
            <a:endParaRPr lang="en-US" altLang="ko-KR" dirty="0"/>
          </a:p>
          <a:p>
            <a:endParaRPr lang="en-US" altLang="ko-KR" dirty="0" smtClean="0"/>
          </a:p>
          <a:p>
            <a:r>
              <a:rPr lang="en-US" altLang="ko-KR" dirty="0"/>
              <a:t>Common formats related to each </a:t>
            </a:r>
            <a:r>
              <a:rPr lang="en-US" altLang="ko-KR" dirty="0" smtClean="0"/>
              <a:t>gate</a:t>
            </a:r>
          </a:p>
          <a:p>
            <a:pPr lvl="1"/>
            <a:r>
              <a:rPr lang="en-US" altLang="ko-KR" dirty="0"/>
              <a:t>Criteria (input): Questions or metrics on which the project is judged in order to make </a:t>
            </a:r>
            <a:r>
              <a:rPr lang="en-US" altLang="ko-KR" dirty="0" smtClean="0"/>
              <a:t>the</a:t>
            </a:r>
            <a:br>
              <a:rPr lang="en-US" altLang="ko-KR" dirty="0" smtClean="0"/>
            </a:br>
            <a:r>
              <a:rPr lang="en-US" altLang="ko-KR" dirty="0" smtClean="0"/>
              <a:t>                    Go/Kill </a:t>
            </a:r>
            <a:r>
              <a:rPr lang="en-US" altLang="ko-KR" dirty="0"/>
              <a:t>and prioritization </a:t>
            </a:r>
            <a:r>
              <a:rPr lang="en-US" altLang="ko-KR" dirty="0" smtClean="0"/>
              <a:t>decision</a:t>
            </a:r>
            <a:endParaRPr lang="en-US" altLang="ko-KR" dirty="0"/>
          </a:p>
          <a:p>
            <a:pPr lvl="1"/>
            <a:r>
              <a:rPr lang="en-US" altLang="ko-KR" dirty="0"/>
              <a:t>Decision (output): Results of the gate review - a decision (Go/Kill/Hold/Recycle</a:t>
            </a:r>
            <a:r>
              <a:rPr lang="en-US" altLang="ko-KR" dirty="0" smtClean="0"/>
              <a:t>)</a:t>
            </a:r>
            <a:endParaRPr lang="en-US" altLang="ko-KR" dirty="0"/>
          </a:p>
          <a:p>
            <a:pPr lvl="1"/>
            <a:r>
              <a:rPr lang="en-US" altLang="ko-KR" dirty="0"/>
              <a:t>Approved action plan (output): Date and deliverables for the next </a:t>
            </a:r>
            <a:r>
              <a:rPr lang="en-US" altLang="ko-KR" dirty="0" smtClean="0"/>
              <a:t>gate</a:t>
            </a:r>
          </a:p>
          <a:p>
            <a:endParaRPr lang="ko-KR" altLang="en-US" dirty="0"/>
          </a:p>
        </p:txBody>
      </p:sp>
      <p:grpSp>
        <p:nvGrpSpPr>
          <p:cNvPr id="53" name="그룹 52"/>
          <p:cNvGrpSpPr/>
          <p:nvPr/>
        </p:nvGrpSpPr>
        <p:grpSpPr>
          <a:xfrm>
            <a:off x="1100572" y="800716"/>
            <a:ext cx="7716289" cy="1516461"/>
            <a:chOff x="252000" y="971203"/>
            <a:chExt cx="8640000" cy="1697995"/>
          </a:xfrm>
        </p:grpSpPr>
        <p:sp>
          <p:nvSpPr>
            <p:cNvPr id="29" name="직사각형 28"/>
            <p:cNvSpPr/>
            <p:nvPr/>
          </p:nvSpPr>
          <p:spPr>
            <a:xfrm>
              <a:off x="252000" y="971203"/>
              <a:ext cx="8640000" cy="1697995"/>
            </a:xfrm>
            <a:prstGeom prst="rect">
              <a:avLst/>
            </a:prstGeom>
            <a:noFill/>
            <a:ln w="1905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endParaRPr lang="ko-KR" altLang="en-US" sz="110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다이아몬드 29"/>
            <p:cNvSpPr/>
            <p:nvPr/>
          </p:nvSpPr>
          <p:spPr>
            <a:xfrm>
              <a:off x="1194124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endParaRPr lang="ko-KR" altLang="en-US" sz="9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1" name="직사각형 30"/>
            <p:cNvSpPr/>
            <p:nvPr/>
          </p:nvSpPr>
          <p:spPr>
            <a:xfrm>
              <a:off x="1178325" y="980728"/>
              <a:ext cx="679599" cy="4135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Idea</a:t>
              </a: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creen</a:t>
              </a:r>
              <a:endParaRPr lang="ko-KR" altLang="en-US" sz="900" b="1" kern="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2" name="모서리가 둥근 직사각형 31"/>
            <p:cNvSpPr/>
            <p:nvPr/>
          </p:nvSpPr>
          <p:spPr>
            <a:xfrm>
              <a:off x="1874519" y="1412856"/>
              <a:ext cx="648000" cy="72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8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1</a:t>
              </a:r>
              <a:endParaRPr lang="ko-KR" altLang="en-US" sz="900" b="1" kern="0" dirty="0" smtClean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3" name="다이아몬드 32"/>
            <p:cNvSpPr/>
            <p:nvPr/>
          </p:nvSpPr>
          <p:spPr>
            <a:xfrm>
              <a:off x="2554913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accent2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ko-KR" altLang="en-US" sz="9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4" name="직사각형 33"/>
            <p:cNvSpPr/>
            <p:nvPr/>
          </p:nvSpPr>
          <p:spPr>
            <a:xfrm>
              <a:off x="2539112" y="980728"/>
              <a:ext cx="679599" cy="4135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econd</a:t>
              </a: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creen</a:t>
              </a:r>
              <a:endParaRPr lang="ko-KR" altLang="en-US" sz="900" b="1" kern="0" dirty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5" name="모서리가 둥근 직사각형 34"/>
            <p:cNvSpPr/>
            <p:nvPr/>
          </p:nvSpPr>
          <p:spPr>
            <a:xfrm>
              <a:off x="3235308" y="1412856"/>
              <a:ext cx="648000" cy="72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8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1</a:t>
              </a:r>
              <a:endParaRPr lang="ko-KR" altLang="en-US" sz="900" b="1" kern="0" dirty="0" smtClean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6" name="다이아몬드 35"/>
            <p:cNvSpPr/>
            <p:nvPr/>
          </p:nvSpPr>
          <p:spPr>
            <a:xfrm>
              <a:off x="3915702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rgbClr val="92D05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ko-KR" altLang="en-US" sz="9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7" name="직사각형 36"/>
            <p:cNvSpPr/>
            <p:nvPr/>
          </p:nvSpPr>
          <p:spPr>
            <a:xfrm>
              <a:off x="3787429" y="980728"/>
              <a:ext cx="904547" cy="4135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</a:t>
              </a: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o Develop</a:t>
              </a:r>
            </a:p>
          </p:txBody>
        </p:sp>
        <p:sp>
          <p:nvSpPr>
            <p:cNvPr id="38" name="모서리가 둥근 직사각형 37"/>
            <p:cNvSpPr/>
            <p:nvPr/>
          </p:nvSpPr>
          <p:spPr>
            <a:xfrm>
              <a:off x="4596097" y="1412856"/>
              <a:ext cx="648000" cy="72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8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3</a:t>
              </a:r>
              <a:endParaRPr lang="ko-KR" altLang="en-US" sz="900" b="1" kern="0" dirty="0" smtClean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39" name="다이아몬드 38"/>
            <p:cNvSpPr/>
            <p:nvPr/>
          </p:nvSpPr>
          <p:spPr>
            <a:xfrm>
              <a:off x="5276491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ko-KR" altLang="en-US" sz="9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0" name="직사각형 39"/>
            <p:cNvSpPr/>
            <p:nvPr/>
          </p:nvSpPr>
          <p:spPr>
            <a:xfrm>
              <a:off x="5143767" y="980728"/>
              <a:ext cx="913452" cy="4135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 to Test</a:t>
              </a:r>
            </a:p>
          </p:txBody>
        </p:sp>
        <p:sp>
          <p:nvSpPr>
            <p:cNvPr id="41" name="모서리가 둥근 직사각형 40"/>
            <p:cNvSpPr/>
            <p:nvPr/>
          </p:nvSpPr>
          <p:spPr>
            <a:xfrm>
              <a:off x="5956886" y="1412856"/>
              <a:ext cx="648000" cy="72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8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4</a:t>
              </a:r>
              <a:endParaRPr lang="ko-KR" altLang="en-US" sz="900" b="1" kern="0" dirty="0" smtClean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2" name="다이아몬드 41"/>
            <p:cNvSpPr/>
            <p:nvPr/>
          </p:nvSpPr>
          <p:spPr>
            <a:xfrm>
              <a:off x="6637280" y="1412856"/>
              <a:ext cx="648000" cy="720000"/>
            </a:xfrm>
            <a:prstGeom prst="diamond">
              <a:avLst/>
            </a:prstGeom>
            <a:solidFill>
              <a:schemeClr val="bg1"/>
            </a:solidFill>
            <a:ln w="28575">
              <a:solidFill>
                <a:srgbClr val="FF0000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Gate</a:t>
              </a:r>
            </a:p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ko-KR" altLang="en-US" sz="900" b="1" kern="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3" name="직사각형 42"/>
            <p:cNvSpPr/>
            <p:nvPr/>
          </p:nvSpPr>
          <p:spPr>
            <a:xfrm>
              <a:off x="6550122" y="980728"/>
              <a:ext cx="822315" cy="56862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cision to Launch</a:t>
              </a:r>
            </a:p>
          </p:txBody>
        </p:sp>
        <p:sp>
          <p:nvSpPr>
            <p:cNvPr id="44" name="모서리가 둥근 직사각형 43"/>
            <p:cNvSpPr/>
            <p:nvPr/>
          </p:nvSpPr>
          <p:spPr>
            <a:xfrm>
              <a:off x="7317675" y="1412856"/>
              <a:ext cx="648000" cy="720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8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 5</a:t>
              </a:r>
              <a:endParaRPr lang="ko-KR" altLang="en-US" sz="900" b="1" kern="0" dirty="0" smtClean="0">
                <a:solidFill>
                  <a:prstClr val="white">
                    <a:lumMod val="8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5" name="직사각형 44"/>
            <p:cNvSpPr/>
            <p:nvPr/>
          </p:nvSpPr>
          <p:spPr>
            <a:xfrm>
              <a:off x="1651268" y="2204863"/>
              <a:ext cx="1094502" cy="4135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reliminary Investigation</a:t>
              </a:r>
            </a:p>
          </p:txBody>
        </p:sp>
        <p:sp>
          <p:nvSpPr>
            <p:cNvPr id="46" name="직사각형 45"/>
            <p:cNvSpPr/>
            <p:nvPr/>
          </p:nvSpPr>
          <p:spPr>
            <a:xfrm>
              <a:off x="3012057" y="2204863"/>
              <a:ext cx="1094502" cy="4135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tailed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Investigation</a:t>
              </a:r>
            </a:p>
          </p:txBody>
        </p:sp>
        <p:sp>
          <p:nvSpPr>
            <p:cNvPr id="47" name="직사각형 46"/>
            <p:cNvSpPr/>
            <p:nvPr/>
          </p:nvSpPr>
          <p:spPr>
            <a:xfrm>
              <a:off x="4372845" y="2204863"/>
              <a:ext cx="1094502" cy="4135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endParaRPr lang="en-US" altLang="ko-KR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evelopment</a:t>
              </a:r>
            </a:p>
          </p:txBody>
        </p:sp>
        <p:sp>
          <p:nvSpPr>
            <p:cNvPr id="48" name="직사각형 47"/>
            <p:cNvSpPr/>
            <p:nvPr/>
          </p:nvSpPr>
          <p:spPr>
            <a:xfrm>
              <a:off x="5733635" y="2204863"/>
              <a:ext cx="1094502" cy="4135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esting &amp;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Validation</a:t>
              </a:r>
            </a:p>
          </p:txBody>
        </p:sp>
        <p:sp>
          <p:nvSpPr>
            <p:cNvPr id="49" name="직사각형 48"/>
            <p:cNvSpPr/>
            <p:nvPr/>
          </p:nvSpPr>
          <p:spPr>
            <a:xfrm>
              <a:off x="7094424" y="2204863"/>
              <a:ext cx="1094502" cy="41354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endParaRPr lang="en-US" altLang="ko-KR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Launch</a:t>
              </a:r>
            </a:p>
          </p:txBody>
        </p:sp>
        <p:sp>
          <p:nvSpPr>
            <p:cNvPr id="50" name="타원 49"/>
            <p:cNvSpPr/>
            <p:nvPr/>
          </p:nvSpPr>
          <p:spPr>
            <a:xfrm>
              <a:off x="441730" y="1412856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Discovery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tage</a:t>
              </a:r>
              <a:endParaRPr lang="ko-KR" altLang="en-US" sz="9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1" name="타원 50"/>
            <p:cNvSpPr/>
            <p:nvPr/>
          </p:nvSpPr>
          <p:spPr>
            <a:xfrm>
              <a:off x="7982270" y="1412856"/>
              <a:ext cx="720000" cy="720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none" rtlCol="0" anchor="ctr">
              <a:noAutofit/>
            </a:bodyPr>
            <a:lstStyle/>
            <a:p>
              <a:pPr algn="ctr"/>
              <a:r>
                <a:rPr lang="en-US" altLang="ko-KR" sz="36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cs typeface="Tahoma" pitchFamily="34" charset="0"/>
                </a:rPr>
                <a:t>$</a:t>
              </a:r>
              <a:endParaRPr lang="ko-KR" altLang="en-US" sz="3600" b="1" kern="0" dirty="0" smtClean="0">
                <a:solidFill>
                  <a:prstClr val="white">
                    <a:lumMod val="9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52" name="직사각형 51"/>
            <p:cNvSpPr/>
            <p:nvPr/>
          </p:nvSpPr>
          <p:spPr>
            <a:xfrm>
              <a:off x="7844768" y="980728"/>
              <a:ext cx="995003" cy="56862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ost-Launch</a:t>
              </a:r>
            </a:p>
            <a:p>
              <a:pPr algn="ctr"/>
              <a:r>
                <a:rPr lang="en-US" altLang="ko-KR" sz="900" b="1" kern="0" dirty="0" smtClean="0">
                  <a:solidFill>
                    <a:prstClr val="white">
                      <a:lumMod val="9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Revie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0251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ko-KR" dirty="0">
                <a:solidFill>
                  <a:srgbClr val="202A38"/>
                </a:solidFill>
              </a:rPr>
              <a:t>Stage-Gate </a:t>
            </a:r>
            <a:r>
              <a:rPr kumimoji="1" lang="en-US" altLang="ko-KR" dirty="0" smtClean="0">
                <a:solidFill>
                  <a:srgbClr val="202A38"/>
                </a:solidFill>
              </a:rPr>
              <a:t>Process (4/4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/>
              <a:t>Action </a:t>
            </a:r>
            <a:r>
              <a:rPr lang="en-US" altLang="ko-KR" dirty="0"/>
              <a:t>items of </a:t>
            </a:r>
            <a:r>
              <a:rPr lang="en-US" altLang="ko-KR" dirty="0" smtClean="0"/>
              <a:t>each stage and gate in </a:t>
            </a:r>
            <a:r>
              <a:rPr lang="en-US" altLang="ko-KR" dirty="0">
                <a:solidFill>
                  <a:srgbClr val="202A38"/>
                </a:solidFill>
              </a:rPr>
              <a:t>Stage-Gate </a:t>
            </a:r>
            <a:r>
              <a:rPr lang="en-US" altLang="ko-KR" dirty="0" smtClean="0">
                <a:solidFill>
                  <a:srgbClr val="202A38"/>
                </a:solidFill>
              </a:rPr>
              <a:t>process</a:t>
            </a:r>
          </a:p>
          <a:p>
            <a:endParaRPr lang="ko-KR" altLang="en-US" dirty="0"/>
          </a:p>
        </p:txBody>
      </p:sp>
      <p:graphicFrame>
        <p:nvGraphicFramePr>
          <p:cNvPr id="4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9630734"/>
              </p:ext>
            </p:extLst>
          </p:nvPr>
        </p:nvGraphicFramePr>
        <p:xfrm>
          <a:off x="596516" y="1304764"/>
          <a:ext cx="8820000" cy="4933636"/>
        </p:xfrm>
        <a:graphic>
          <a:graphicData uri="http://schemas.openxmlformats.org/drawingml/2006/table">
            <a:tbl>
              <a:tblPr/>
              <a:tblGrid>
                <a:gridCol w="2520000"/>
                <a:gridCol w="6300000"/>
              </a:tblGrid>
              <a:tr h="11147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tage/Gate</a:t>
                      </a:r>
                      <a:endParaRPr kumimoji="1" lang="ko-KR" alt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64510" marR="64510" marT="33545" marB="33545" anchor="ctr" horzOverflow="overflow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25773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ctr" latinLnBrk="1" hangingPunct="0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Action Items</a:t>
                      </a:r>
                    </a:p>
                  </a:txBody>
                  <a:tcPr marL="64510" marR="64510" marT="33545" marB="33545" anchor="ctr" horzOverflow="overflow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25773"/>
                    </a:solidFill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Gate 1. Idea Screen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Does the idea merit any work?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05136"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Stage 1. </a:t>
                      </a: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Scoping</a:t>
                      </a:r>
                      <a:endParaRPr lang="en-US" altLang="ko-KR" sz="1200" b="0" i="0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Prelim market assessment</a:t>
                      </a:r>
                      <a:r>
                        <a:rPr lang="en-US" altLang="ko-KR" sz="1200" u="none" strike="noStrike" baseline="0" dirty="0" smtClean="0">
                          <a:effectLst/>
                        </a:rPr>
                        <a:t>                 </a:t>
                      </a:r>
                      <a:r>
                        <a:rPr lang="en-US" altLang="ko-KR" sz="1200" u="none" strike="noStrike" baseline="0" dirty="0" smtClean="0">
                          <a:effectLst/>
                        </a:rPr>
                        <a:t>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• Prelim technical assessment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Prelim financial &amp; business assessment    • Action plan for Stage 2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Gate 2. Second Screen</a:t>
                      </a: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Does the idea justify extensive investigation?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0860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Stage 2.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Building Business</a:t>
                      </a:r>
                      <a:r>
                        <a:rPr lang="en-US" altLang="ko-KR" sz="1200" u="none" strike="noStrike" baseline="0" dirty="0" smtClean="0">
                          <a:effectLst/>
                        </a:rPr>
                        <a:t> Case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User needs &amp; wants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study                     •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Competitive analysis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Value proposition defined                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•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Technical feasibility assessment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Operations assessment  </a:t>
                      </a:r>
                      <a:r>
                        <a:rPr lang="en-US" altLang="ko-KR" sz="1200" u="none" strike="noStrike" baseline="0" dirty="0" smtClean="0">
                          <a:effectLst/>
                        </a:rPr>
                        <a:t>                 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 • Product Definition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Gate 3. Decision to Develop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• Is the business case sound?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Stage 3. Development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Technical development work         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• Rapid prototypes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Initial customer feedback                       • Prototype development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In-house product testing             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 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• Operations process development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• Full launch &amp; operations plans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Gate 4. Decision to Test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• Should the project be moved to external testing?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Stage 4. Testing &amp; Validation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• Extend in-house testing           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     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• Customer field trials</a:t>
                      </a: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Acquisition of production equipment        • Production/operation trials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Test market/trial sell                      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   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• Finalized launch and operations plans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• Post-launch &amp; life cycle plans</a:t>
                      </a:r>
                      <a:endParaRPr lang="en-US" altLang="ko-KR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0020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Gate 5. Decision to Launch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Is the product ready for commercial launch?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0438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Stage 5. Launch</a:t>
                      </a:r>
                      <a:endParaRPr lang="en-US" altLang="ko-KR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ko-KR" sz="1200" u="none" strike="noStrike" dirty="0" smtClean="0">
                          <a:effectLst/>
                        </a:rPr>
                        <a:t>• </a:t>
                      </a:r>
                      <a:r>
                        <a:rPr lang="en-US" altLang="ko-KR" sz="1200" u="none" strike="noStrike" dirty="0" smtClean="0">
                          <a:effectLst/>
                        </a:rPr>
                        <a:t>Market launch &amp; roll-out                       • Full production/operations</a:t>
                      </a: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Selling begin                                       • Results monitoring</a:t>
                      </a:r>
                      <a:endParaRPr lang="en-US" altLang="ko-KR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marL="0" marR="0" indent="0" algn="l" defTabSz="914400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u="none" strike="noStrike" dirty="0" smtClean="0">
                          <a:effectLst/>
                        </a:rPr>
                        <a:t>• Post-Launch &amp; life cycle plans under way</a:t>
                      </a:r>
                      <a:endParaRPr lang="en-US" altLang="ko-KR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4510" marR="64510" marT="33545" marB="33545" anchor="ctr">
                    <a:lnL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B374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3880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 smtClean="0"/>
              <a:t>Quality Function Deployment (1/6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Quality Function Deployment </a:t>
            </a:r>
            <a:r>
              <a:rPr lang="en-US" altLang="ko-KR" dirty="0" smtClean="0"/>
              <a:t>(QFD)</a:t>
            </a:r>
          </a:p>
          <a:p>
            <a:pPr lvl="1"/>
            <a:r>
              <a:rPr lang="en-US" altLang="ko-KR" dirty="0" smtClean="0"/>
              <a:t>Method </a:t>
            </a:r>
            <a:r>
              <a:rPr lang="en-US" altLang="ko-KR" dirty="0"/>
              <a:t>to transform user demands into design </a:t>
            </a:r>
            <a:r>
              <a:rPr lang="en-US" altLang="ko-KR" dirty="0" smtClean="0"/>
              <a:t>quality,</a:t>
            </a:r>
            <a:br>
              <a:rPr lang="en-US" altLang="ko-KR" dirty="0" smtClean="0"/>
            </a:br>
            <a:r>
              <a:rPr lang="en-US" altLang="ko-KR" dirty="0" smtClean="0"/>
              <a:t>to </a:t>
            </a:r>
            <a:r>
              <a:rPr lang="en-US" altLang="ko-KR" dirty="0"/>
              <a:t>deploy the functions forming </a:t>
            </a:r>
            <a:r>
              <a:rPr lang="en-US" altLang="ko-KR" dirty="0" smtClean="0"/>
              <a:t>quality,</a:t>
            </a:r>
            <a:br>
              <a:rPr lang="en-US" altLang="ko-KR" dirty="0" smtClean="0"/>
            </a:br>
            <a:r>
              <a:rPr lang="en-US" altLang="ko-KR" dirty="0" smtClean="0"/>
              <a:t>and </a:t>
            </a:r>
            <a:r>
              <a:rPr lang="en-US" altLang="ko-KR" dirty="0"/>
              <a:t>to deploy methods for achieving the design quality into subsystems and component </a:t>
            </a:r>
            <a:r>
              <a:rPr lang="en-US" altLang="ko-KR" dirty="0" smtClean="0"/>
              <a:t>parts,</a:t>
            </a:r>
            <a:br>
              <a:rPr lang="en-US" altLang="ko-KR" dirty="0" smtClean="0"/>
            </a:br>
            <a:r>
              <a:rPr lang="en-US" altLang="ko-KR" dirty="0" smtClean="0"/>
              <a:t>and </a:t>
            </a:r>
            <a:r>
              <a:rPr lang="en-US" altLang="ko-KR" dirty="0"/>
              <a:t>ultimately to specific elements of the manufacturing </a:t>
            </a:r>
            <a:r>
              <a:rPr lang="en-US" altLang="ko-KR" dirty="0" smtClean="0"/>
              <a:t>process</a:t>
            </a:r>
          </a:p>
          <a:p>
            <a:pPr lvl="1"/>
            <a:r>
              <a:rPr lang="en-US" altLang="ko-KR" dirty="0" smtClean="0"/>
              <a:t>Developed by </a:t>
            </a:r>
            <a:r>
              <a:rPr lang="en-US" altLang="ko-KR" dirty="0" err="1" smtClean="0"/>
              <a:t>Yoji</a:t>
            </a:r>
            <a:r>
              <a:rPr lang="en-US" altLang="ko-KR" dirty="0" smtClean="0"/>
              <a:t> </a:t>
            </a:r>
            <a:r>
              <a:rPr lang="en-US" altLang="ko-KR" dirty="0" err="1" smtClean="0"/>
              <a:t>Akao</a:t>
            </a:r>
            <a:r>
              <a:rPr lang="en-US" altLang="ko-KR" dirty="0"/>
              <a:t> </a:t>
            </a:r>
            <a:r>
              <a:rPr lang="en-US" altLang="ko-KR" dirty="0" smtClean="0"/>
              <a:t>in 1966</a:t>
            </a:r>
          </a:p>
        </p:txBody>
      </p:sp>
    </p:spTree>
    <p:extLst>
      <p:ext uri="{BB962C8B-B14F-4D97-AF65-F5344CB8AC3E}">
        <p14:creationId xmlns:p14="http://schemas.microsoft.com/office/powerpoint/2010/main" val="1557768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Quality Function Deployment </a:t>
            </a:r>
            <a:r>
              <a:rPr lang="en-US" altLang="ko-KR" dirty="0" smtClean="0"/>
              <a:t>(2/6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Benefits of QFD</a:t>
            </a:r>
          </a:p>
          <a:p>
            <a:pPr lvl="1"/>
            <a:r>
              <a:rPr lang="en-US" altLang="ko-KR" dirty="0"/>
              <a:t>Customer </a:t>
            </a:r>
            <a:r>
              <a:rPr lang="en-US" altLang="ko-KR" dirty="0" smtClean="0"/>
              <a:t>Driven</a:t>
            </a:r>
          </a:p>
          <a:p>
            <a:pPr lvl="2"/>
            <a:r>
              <a:rPr lang="en-US" altLang="ko-KR" dirty="0"/>
              <a:t>Creates Focus On Customer Requirements</a:t>
            </a:r>
          </a:p>
          <a:p>
            <a:pPr lvl="2"/>
            <a:r>
              <a:rPr lang="en-US" altLang="ko-KR" dirty="0"/>
              <a:t>Uses Competitive Information Effectively</a:t>
            </a:r>
          </a:p>
          <a:p>
            <a:pPr lvl="2"/>
            <a:r>
              <a:rPr lang="en-US" altLang="ko-KR" dirty="0"/>
              <a:t>Prioritizes Resources</a:t>
            </a:r>
          </a:p>
          <a:p>
            <a:pPr lvl="2"/>
            <a:r>
              <a:rPr lang="en-US" altLang="ko-KR" dirty="0"/>
              <a:t>Identifies Items That Can Be Acted On</a:t>
            </a:r>
          </a:p>
          <a:p>
            <a:pPr lvl="2"/>
            <a:r>
              <a:rPr lang="en-US" altLang="ko-KR" dirty="0"/>
              <a:t>Structures Resident Experience/Information</a:t>
            </a:r>
          </a:p>
          <a:p>
            <a:pPr lvl="1"/>
            <a:endParaRPr lang="en-US" altLang="ko-KR" dirty="0" smtClean="0"/>
          </a:p>
          <a:p>
            <a:pPr lvl="1"/>
            <a:r>
              <a:rPr lang="en-US" altLang="ko-KR" dirty="0" smtClean="0"/>
              <a:t>Reduces </a:t>
            </a:r>
            <a:r>
              <a:rPr lang="en-US" altLang="ko-KR" dirty="0"/>
              <a:t>Implementation </a:t>
            </a:r>
            <a:r>
              <a:rPr lang="en-US" altLang="ko-KR" dirty="0" smtClean="0"/>
              <a:t>Time</a:t>
            </a:r>
          </a:p>
          <a:p>
            <a:pPr lvl="2"/>
            <a:r>
              <a:rPr lang="en-US" altLang="ko-KR" dirty="0"/>
              <a:t>Decreases Midstream Design Change</a:t>
            </a:r>
          </a:p>
          <a:p>
            <a:pPr lvl="2"/>
            <a:r>
              <a:rPr lang="en-US" altLang="ko-KR" dirty="0"/>
              <a:t>Limits Post Introduction Problems</a:t>
            </a:r>
          </a:p>
          <a:p>
            <a:pPr lvl="2"/>
            <a:r>
              <a:rPr lang="en-US" altLang="ko-KR" dirty="0"/>
              <a:t>Avoids Future Development Redundancies</a:t>
            </a:r>
          </a:p>
          <a:p>
            <a:pPr lvl="2"/>
            <a:r>
              <a:rPr lang="en-US" altLang="ko-KR" dirty="0"/>
              <a:t>Identifies Future Application Opportunities</a:t>
            </a:r>
          </a:p>
          <a:p>
            <a:pPr lvl="2"/>
            <a:r>
              <a:rPr lang="en-US" altLang="ko-KR" dirty="0"/>
              <a:t>Surfaces Missing </a:t>
            </a:r>
            <a:r>
              <a:rPr lang="en-US" altLang="ko-KR" dirty="0" smtClean="0"/>
              <a:t>Assumptions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1012409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Quality Function Deployment </a:t>
            </a:r>
            <a:r>
              <a:rPr lang="en-US" altLang="ko-KR" dirty="0" smtClean="0"/>
              <a:t>(3/6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/>
              <a:t>Benefits of </a:t>
            </a:r>
            <a:r>
              <a:rPr lang="en-US" altLang="ko-KR" dirty="0" smtClean="0"/>
              <a:t>QFD (Cont’d)</a:t>
            </a:r>
            <a:endParaRPr lang="en-US" altLang="ko-KR" dirty="0"/>
          </a:p>
          <a:p>
            <a:pPr lvl="1"/>
            <a:r>
              <a:rPr lang="en-US" altLang="ko-KR" dirty="0" smtClean="0"/>
              <a:t>Promotes Teamwork</a:t>
            </a:r>
          </a:p>
          <a:p>
            <a:pPr lvl="2"/>
            <a:r>
              <a:rPr lang="en-US" altLang="ko-KR" dirty="0"/>
              <a:t>Based On Consensus</a:t>
            </a:r>
          </a:p>
          <a:p>
            <a:pPr lvl="2"/>
            <a:r>
              <a:rPr lang="en-US" altLang="ko-KR" dirty="0"/>
              <a:t>Creates Communication At Interfaces</a:t>
            </a:r>
          </a:p>
          <a:p>
            <a:pPr lvl="2"/>
            <a:r>
              <a:rPr lang="en-US" altLang="ko-KR" dirty="0"/>
              <a:t>Identifies Actions At Interfaces</a:t>
            </a:r>
          </a:p>
          <a:p>
            <a:pPr lvl="2"/>
            <a:r>
              <a:rPr lang="en-US" altLang="ko-KR" dirty="0"/>
              <a:t>Creates Global View-Out Of Details</a:t>
            </a:r>
          </a:p>
          <a:p>
            <a:pPr lvl="1"/>
            <a:endParaRPr lang="en-US" altLang="ko-KR" dirty="0" smtClean="0"/>
          </a:p>
          <a:p>
            <a:pPr lvl="1"/>
            <a:r>
              <a:rPr lang="en-US" altLang="ko-KR" dirty="0" smtClean="0"/>
              <a:t>Provides Documentation</a:t>
            </a:r>
          </a:p>
          <a:p>
            <a:pPr lvl="2"/>
            <a:r>
              <a:rPr lang="en-US" altLang="ko-KR" dirty="0"/>
              <a:t>Documents Rationale For Design</a:t>
            </a:r>
          </a:p>
          <a:p>
            <a:pPr lvl="2"/>
            <a:r>
              <a:rPr lang="en-US" altLang="ko-KR" dirty="0"/>
              <a:t>Is Easy To Assimilate</a:t>
            </a:r>
          </a:p>
          <a:p>
            <a:pPr lvl="2"/>
            <a:r>
              <a:rPr lang="en-US" altLang="ko-KR" dirty="0"/>
              <a:t>Adds Structure To The Information</a:t>
            </a:r>
          </a:p>
          <a:p>
            <a:pPr lvl="2"/>
            <a:r>
              <a:rPr lang="en-US" altLang="ko-KR" dirty="0"/>
              <a:t>Adapts To Changes (Living Document)</a:t>
            </a:r>
          </a:p>
          <a:p>
            <a:pPr lvl="2"/>
            <a:r>
              <a:rPr lang="en-US" altLang="ko-KR" dirty="0"/>
              <a:t>Provides Framework For Sensitivity </a:t>
            </a:r>
            <a:r>
              <a:rPr lang="en-US" altLang="ko-KR" dirty="0" smtClean="0"/>
              <a:t>Analysis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3711005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ko-KR" dirty="0"/>
              <a:t>Quality Function Deployment </a:t>
            </a:r>
            <a:r>
              <a:rPr lang="en-US" altLang="ko-KR" dirty="0" smtClean="0"/>
              <a:t>(4/6</a:t>
            </a:r>
            <a:r>
              <a:rPr lang="en-US" altLang="ko-KR" dirty="0"/>
              <a:t>)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ko-KR" dirty="0" smtClean="0"/>
              <a:t>Voice of the Customer</a:t>
            </a:r>
          </a:p>
          <a:p>
            <a:pPr lvl="1"/>
            <a:r>
              <a:rPr lang="en-US" altLang="ko-KR" dirty="0"/>
              <a:t>Driving Force Behind QFD</a:t>
            </a:r>
          </a:p>
          <a:p>
            <a:pPr lvl="2"/>
            <a:r>
              <a:rPr lang="en-US" altLang="ko-KR" dirty="0"/>
              <a:t>Customer Dictates Attributes Of Product</a:t>
            </a:r>
          </a:p>
          <a:p>
            <a:pPr lvl="1"/>
            <a:r>
              <a:rPr lang="en-US" altLang="ko-KR" dirty="0"/>
              <a:t>Customer Satisfaction</a:t>
            </a:r>
          </a:p>
          <a:p>
            <a:pPr lvl="2"/>
            <a:r>
              <a:rPr lang="en-US" altLang="ko-KR" dirty="0"/>
              <a:t>Meeting Or Exceeding Customer Expectations</a:t>
            </a:r>
          </a:p>
          <a:p>
            <a:pPr lvl="2"/>
            <a:r>
              <a:rPr lang="en-US" altLang="ko-KR" dirty="0"/>
              <a:t>Customer Expectations Can Be Vague &amp; General In Nature</a:t>
            </a:r>
          </a:p>
          <a:p>
            <a:pPr lvl="2"/>
            <a:r>
              <a:rPr lang="en-US" altLang="ko-KR" dirty="0"/>
              <a:t>Customer Expectations Must Be Taken Literally, Not Translated Into What The Organization Desires</a:t>
            </a:r>
          </a:p>
          <a:p>
            <a:endParaRPr lang="en-US" altLang="ko-KR" dirty="0" smtClean="0"/>
          </a:p>
          <a:p>
            <a:r>
              <a:rPr lang="en-US" altLang="ko-KR" dirty="0"/>
              <a:t>Collecting </a:t>
            </a:r>
            <a:r>
              <a:rPr lang="en-US" altLang="ko-KR" dirty="0" smtClean="0"/>
              <a:t>Customer Information</a:t>
            </a:r>
          </a:p>
          <a:p>
            <a:pPr lvl="1"/>
            <a:r>
              <a:rPr lang="en-US" altLang="ko-KR" dirty="0"/>
              <a:t>What Does Customer Really </a:t>
            </a:r>
            <a:r>
              <a:rPr lang="en-US" altLang="ko-KR" dirty="0" smtClean="0"/>
              <a:t>Want?</a:t>
            </a:r>
            <a:endParaRPr lang="en-US" altLang="ko-KR" dirty="0"/>
          </a:p>
          <a:p>
            <a:pPr lvl="1"/>
            <a:r>
              <a:rPr lang="en-US" altLang="ko-KR" dirty="0"/>
              <a:t>What Are Customer’s </a:t>
            </a:r>
            <a:r>
              <a:rPr lang="en-US" altLang="ko-KR" dirty="0" smtClean="0"/>
              <a:t>Expectations?</a:t>
            </a:r>
            <a:endParaRPr lang="en-US" altLang="ko-KR" dirty="0"/>
          </a:p>
          <a:p>
            <a:pPr lvl="1"/>
            <a:r>
              <a:rPr lang="en-US" altLang="ko-KR" dirty="0"/>
              <a:t>Are Customer’s Expectations Used To Drive Design </a:t>
            </a:r>
            <a:r>
              <a:rPr lang="en-US" altLang="ko-KR" dirty="0" smtClean="0"/>
              <a:t>Process?</a:t>
            </a:r>
            <a:endParaRPr lang="en-US" altLang="ko-KR" dirty="0"/>
          </a:p>
          <a:p>
            <a:pPr lvl="1"/>
            <a:r>
              <a:rPr lang="en-US" altLang="ko-KR" dirty="0"/>
              <a:t>What Can Design Team Do To Achieve Customer Satisfaction</a:t>
            </a:r>
            <a:r>
              <a:rPr lang="en-US" altLang="ko-KR" dirty="0" smtClean="0"/>
              <a:t>?</a:t>
            </a:r>
            <a:endParaRPr lang="en-US" altLang="ko-KR" dirty="0"/>
          </a:p>
        </p:txBody>
      </p:sp>
    </p:spTree>
    <p:extLst>
      <p:ext uri="{BB962C8B-B14F-4D97-AF65-F5344CB8AC3E}">
        <p14:creationId xmlns:p14="http://schemas.microsoft.com/office/powerpoint/2010/main" val="2897883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66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6&quot;&gt;&lt;elem&gt;&lt;m_ppcolschidx val=&quot;0&quot;/&gt;&lt;m_rgb r=&quot;c8&quot; g=&quot;cf&quot; b=&quot;d7&quot;/&gt;&lt;/elem&gt;&lt;elem&gt;&lt;m_ppcolschidx val=&quot;0&quot;/&gt;&lt;m_rgb r=&quot;82&quot; g=&quot;8c&quot; b=&quot;96&quot;/&gt;&lt;/elem&gt;&lt;elem&gt;&lt;m_ppcolschidx val=&quot;0&quot;/&gt;&lt;m_rgb r=&quot;42&quot; g=&quot;57&quot; b=&quot;73&quot;/&gt;&lt;/elem&gt;&lt;elem&gt;&lt;m_ppcolschidx val=&quot;0&quot;/&gt;&lt;m_rgb r=&quot;ff&quot; g=&quot;cc&quot; b=&quot;0&quot;/&gt;&lt;/elem&gt;&lt;elem&gt;&lt;m_ppcolschidx val=&quot;0&quot;/&gt;&lt;m_rgb r=&quot;2d&quot; g=&quot;37&quot; b=&quot;49&quot;/&gt;&lt;/elem&gt;&lt;elem&gt;&lt;m_ppcolschidx val=&quot;0&quot;/&gt;&lt;m_rgb r=&quot;14&quot; g=&quot;1d&quot; b=&quot;29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123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r4ASpGckOiea.By8Qn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Y7kMbdTEifSNZgd4GN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tRWYxlZk.TMcaPKrkw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r4ASpGckOiea.By8Qn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Y7kMbdTEifSNZgd4GNhw"/>
</p:tagLst>
</file>

<file path=ppt/theme/theme1.xml><?xml version="1.0" encoding="utf-8"?>
<a:theme xmlns:a="http://schemas.openxmlformats.org/drawingml/2006/main" name="1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Knowledgeworks Temlate">
  <a:themeElements>
    <a:clrScheme name="2_Knowledgeworks Temlate 1">
      <a:dk1>
        <a:srgbClr val="004785"/>
      </a:dk1>
      <a:lt1>
        <a:srgbClr val="FFFFFF"/>
      </a:lt1>
      <a:dk2>
        <a:srgbClr val="004785"/>
      </a:dk2>
      <a:lt2>
        <a:srgbClr val="808080"/>
      </a:lt2>
      <a:accent1>
        <a:srgbClr val="3E7898"/>
      </a:accent1>
      <a:accent2>
        <a:srgbClr val="C0D8E6"/>
      </a:accent2>
      <a:accent3>
        <a:srgbClr val="FFFFFF"/>
      </a:accent3>
      <a:accent4>
        <a:srgbClr val="003B71"/>
      </a:accent4>
      <a:accent5>
        <a:srgbClr val="AFBECA"/>
      </a:accent5>
      <a:accent6>
        <a:srgbClr val="AEC4D0"/>
      </a:accent6>
      <a:hlink>
        <a:srgbClr val="6EA5C4"/>
      </a:hlink>
      <a:folHlink>
        <a:srgbClr val="C0C0C0"/>
      </a:folHlink>
    </a:clrScheme>
    <a:fontScheme name="2_Knowledgeworks Temlate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맑은 고딕" pitchFamily="50" charset="-127"/>
            <a:ea typeface="맑은 고딕" pitchFamily="50" charset="-127"/>
          </a:defRPr>
        </a:defPPr>
      </a:lstStyle>
    </a:lnDef>
  </a:objectDefaults>
  <a:extraClrSchemeLst>
    <a:extraClrScheme>
      <a:clrScheme name="2_Knowledgeworks Temlate 1">
        <a:dk1>
          <a:srgbClr val="004785"/>
        </a:dk1>
        <a:lt1>
          <a:srgbClr val="FFFFFF"/>
        </a:lt1>
        <a:dk2>
          <a:srgbClr val="004785"/>
        </a:dk2>
        <a:lt2>
          <a:srgbClr val="808080"/>
        </a:lt2>
        <a:accent1>
          <a:srgbClr val="3E7898"/>
        </a:accent1>
        <a:accent2>
          <a:srgbClr val="C0D8E6"/>
        </a:accent2>
        <a:accent3>
          <a:srgbClr val="FFFFFF"/>
        </a:accent3>
        <a:accent4>
          <a:srgbClr val="003B71"/>
        </a:accent4>
        <a:accent5>
          <a:srgbClr val="AFBECA"/>
        </a:accent5>
        <a:accent6>
          <a:srgbClr val="AEC4D0"/>
        </a:accent6>
        <a:hlink>
          <a:srgbClr val="6EA5C4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resentationLoad">
  <a:themeElements>
    <a:clrScheme name="PresentationLoad 4">
      <a:dk1>
        <a:srgbClr val="000000"/>
      </a:dk1>
      <a:lt1>
        <a:srgbClr val="FFFFFF"/>
      </a:lt1>
      <a:dk2>
        <a:srgbClr val="A80404"/>
      </a:dk2>
      <a:lt2>
        <a:srgbClr val="737373"/>
      </a:lt2>
      <a:accent1>
        <a:srgbClr val="D03737"/>
      </a:accent1>
      <a:accent2>
        <a:srgbClr val="919191"/>
      </a:accent2>
      <a:accent3>
        <a:srgbClr val="FFFFFF"/>
      </a:accent3>
      <a:accent4>
        <a:srgbClr val="000000"/>
      </a:accent4>
      <a:accent5>
        <a:srgbClr val="E4AEAE"/>
      </a:accent5>
      <a:accent6>
        <a:srgbClr val="838383"/>
      </a:accent6>
      <a:hlink>
        <a:srgbClr val="AEAEAE"/>
      </a:hlink>
      <a:folHlink>
        <a:srgbClr val="C9C9C9"/>
      </a:folHlink>
    </a:clrScheme>
    <a:fontScheme name="PresentationLo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Load 1">
        <a:dk1>
          <a:srgbClr val="000000"/>
        </a:dk1>
        <a:lt1>
          <a:srgbClr val="FFFFFF"/>
        </a:lt1>
        <a:dk2>
          <a:srgbClr val="004074"/>
        </a:dk2>
        <a:lt2>
          <a:srgbClr val="737373"/>
        </a:lt2>
        <a:accent1>
          <a:srgbClr val="2A79D0"/>
        </a:accent1>
        <a:accent2>
          <a:srgbClr val="919191"/>
        </a:accent2>
        <a:accent3>
          <a:srgbClr val="FFFFFF"/>
        </a:accent3>
        <a:accent4>
          <a:srgbClr val="000000"/>
        </a:accent4>
        <a:accent5>
          <a:srgbClr val="ACBEE4"/>
        </a:accent5>
        <a:accent6>
          <a:srgbClr val="838383"/>
        </a:accent6>
        <a:hlink>
          <a:srgbClr val="AEAFAE"/>
        </a:hlink>
        <a:folHlink>
          <a:srgbClr val="C9C9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Load 2">
        <a:dk1>
          <a:srgbClr val="000000"/>
        </a:dk1>
        <a:lt1>
          <a:srgbClr val="FFFFFF"/>
        </a:lt1>
        <a:dk2>
          <a:srgbClr val="38520E"/>
        </a:dk2>
        <a:lt2>
          <a:srgbClr val="737373"/>
        </a:lt2>
        <a:accent1>
          <a:srgbClr val="6B9B1A"/>
        </a:accent1>
        <a:accent2>
          <a:srgbClr val="919191"/>
        </a:accent2>
        <a:accent3>
          <a:srgbClr val="FFFFFF"/>
        </a:accent3>
        <a:accent4>
          <a:srgbClr val="000000"/>
        </a:accent4>
        <a:accent5>
          <a:srgbClr val="BACBAB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Load 3">
        <a:dk1>
          <a:srgbClr val="000000"/>
        </a:dk1>
        <a:lt1>
          <a:srgbClr val="FFFFFF"/>
        </a:lt1>
        <a:dk2>
          <a:srgbClr val="E24203"/>
        </a:dk2>
        <a:lt2>
          <a:srgbClr val="737373"/>
        </a:lt2>
        <a:accent1>
          <a:srgbClr val="FEA501"/>
        </a:accent1>
        <a:accent2>
          <a:srgbClr val="919191"/>
        </a:accent2>
        <a:accent3>
          <a:srgbClr val="FFFFFF"/>
        </a:accent3>
        <a:accent4>
          <a:srgbClr val="000000"/>
        </a:accent4>
        <a:accent5>
          <a:srgbClr val="FECFAA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Load 4">
        <a:dk1>
          <a:srgbClr val="000000"/>
        </a:dk1>
        <a:lt1>
          <a:srgbClr val="FFFFFF"/>
        </a:lt1>
        <a:dk2>
          <a:srgbClr val="A80404"/>
        </a:dk2>
        <a:lt2>
          <a:srgbClr val="737373"/>
        </a:lt2>
        <a:accent1>
          <a:srgbClr val="D03737"/>
        </a:accent1>
        <a:accent2>
          <a:srgbClr val="919191"/>
        </a:accent2>
        <a:accent3>
          <a:srgbClr val="FFFFFF"/>
        </a:accent3>
        <a:accent4>
          <a:srgbClr val="000000"/>
        </a:accent4>
        <a:accent5>
          <a:srgbClr val="E4AEAE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Load 5">
        <a:dk1>
          <a:srgbClr val="000000"/>
        </a:dk1>
        <a:lt1>
          <a:srgbClr val="FFFFFF"/>
        </a:lt1>
        <a:dk2>
          <a:srgbClr val="5F4B3B"/>
        </a:dk2>
        <a:lt2>
          <a:srgbClr val="737373"/>
        </a:lt2>
        <a:accent1>
          <a:srgbClr val="C8A058"/>
        </a:accent1>
        <a:accent2>
          <a:srgbClr val="919191"/>
        </a:accent2>
        <a:accent3>
          <a:srgbClr val="FFFFFF"/>
        </a:accent3>
        <a:accent4>
          <a:srgbClr val="000000"/>
        </a:accent4>
        <a:accent5>
          <a:srgbClr val="E0CDB4"/>
        </a:accent5>
        <a:accent6>
          <a:srgbClr val="838383"/>
        </a:accent6>
        <a:hlink>
          <a:srgbClr val="AEAFAE"/>
        </a:hlink>
        <a:folHlink>
          <a:srgbClr val="C9C9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Load 6">
        <a:dk1>
          <a:srgbClr val="737373"/>
        </a:dk1>
        <a:lt1>
          <a:srgbClr val="FFFFFF"/>
        </a:lt1>
        <a:dk2>
          <a:srgbClr val="000000"/>
        </a:dk2>
        <a:lt2>
          <a:srgbClr val="004074"/>
        </a:lt2>
        <a:accent1>
          <a:srgbClr val="2A79D0"/>
        </a:accent1>
        <a:accent2>
          <a:srgbClr val="919191"/>
        </a:accent2>
        <a:accent3>
          <a:srgbClr val="AAAAAA"/>
        </a:accent3>
        <a:accent4>
          <a:srgbClr val="DADADA"/>
        </a:accent4>
        <a:accent5>
          <a:srgbClr val="ACBEE4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Load 7">
        <a:dk1>
          <a:srgbClr val="737373"/>
        </a:dk1>
        <a:lt1>
          <a:srgbClr val="FFFFFF"/>
        </a:lt1>
        <a:dk2>
          <a:srgbClr val="000000"/>
        </a:dk2>
        <a:lt2>
          <a:srgbClr val="38520E"/>
        </a:lt2>
        <a:accent1>
          <a:srgbClr val="6B9B1A"/>
        </a:accent1>
        <a:accent2>
          <a:srgbClr val="919191"/>
        </a:accent2>
        <a:accent3>
          <a:srgbClr val="AAAAAA"/>
        </a:accent3>
        <a:accent4>
          <a:srgbClr val="DADADA"/>
        </a:accent4>
        <a:accent5>
          <a:srgbClr val="BACBAB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Load 8">
        <a:dk1>
          <a:srgbClr val="737373"/>
        </a:dk1>
        <a:lt1>
          <a:srgbClr val="FFFFFF"/>
        </a:lt1>
        <a:dk2>
          <a:srgbClr val="000000"/>
        </a:dk2>
        <a:lt2>
          <a:srgbClr val="E24203"/>
        </a:lt2>
        <a:accent1>
          <a:srgbClr val="FEA501"/>
        </a:accent1>
        <a:accent2>
          <a:srgbClr val="919191"/>
        </a:accent2>
        <a:accent3>
          <a:srgbClr val="AAAAAA"/>
        </a:accent3>
        <a:accent4>
          <a:srgbClr val="DADADA"/>
        </a:accent4>
        <a:accent5>
          <a:srgbClr val="FECFAA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Load 9">
        <a:dk1>
          <a:srgbClr val="737373"/>
        </a:dk1>
        <a:lt1>
          <a:srgbClr val="FFFFFF"/>
        </a:lt1>
        <a:dk2>
          <a:srgbClr val="000000"/>
        </a:dk2>
        <a:lt2>
          <a:srgbClr val="A80404"/>
        </a:lt2>
        <a:accent1>
          <a:srgbClr val="D03737"/>
        </a:accent1>
        <a:accent2>
          <a:srgbClr val="919191"/>
        </a:accent2>
        <a:accent3>
          <a:srgbClr val="AAAAAA"/>
        </a:accent3>
        <a:accent4>
          <a:srgbClr val="DADADA"/>
        </a:accent4>
        <a:accent5>
          <a:srgbClr val="E4AEAE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Load 10">
        <a:dk1>
          <a:srgbClr val="737373"/>
        </a:dk1>
        <a:lt1>
          <a:srgbClr val="FFFFFF"/>
        </a:lt1>
        <a:dk2>
          <a:srgbClr val="000000"/>
        </a:dk2>
        <a:lt2>
          <a:srgbClr val="5F4B3B"/>
        </a:lt2>
        <a:accent1>
          <a:srgbClr val="C8A058"/>
        </a:accent1>
        <a:accent2>
          <a:srgbClr val="919191"/>
        </a:accent2>
        <a:accent3>
          <a:srgbClr val="AAAAAA"/>
        </a:accent3>
        <a:accent4>
          <a:srgbClr val="DADADA"/>
        </a:accent4>
        <a:accent5>
          <a:srgbClr val="E0CDB4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Load 1">
        <a:dk1>
          <a:srgbClr val="000000"/>
        </a:dk1>
        <a:lt1>
          <a:srgbClr val="FFFFFF"/>
        </a:lt1>
        <a:dk2>
          <a:srgbClr val="A80404"/>
        </a:dk2>
        <a:lt2>
          <a:srgbClr val="737373"/>
        </a:lt2>
        <a:accent1>
          <a:srgbClr val="D03737"/>
        </a:accent1>
        <a:accent2>
          <a:srgbClr val="919191"/>
        </a:accent2>
        <a:accent3>
          <a:srgbClr val="FFFFFF"/>
        </a:accent3>
        <a:accent4>
          <a:srgbClr val="000000"/>
        </a:accent4>
        <a:accent5>
          <a:srgbClr val="E4AEAE"/>
        </a:accent5>
        <a:accent6>
          <a:srgbClr val="838383"/>
        </a:accent6>
        <a:hlink>
          <a:srgbClr val="AEAEAE"/>
        </a:hlink>
        <a:folHlink>
          <a:srgbClr val="C9C9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디자인 사용자 지정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worldc">
  <a:themeElements>
    <a:clrScheme name="">
      <a:dk1>
        <a:srgbClr val="000000"/>
      </a:dk1>
      <a:lt1>
        <a:srgbClr val="438E00"/>
      </a:lt1>
      <a:dk2>
        <a:srgbClr val="008A84"/>
      </a:dk2>
      <a:lt2>
        <a:srgbClr val="A2C1FE"/>
      </a:lt2>
      <a:accent1>
        <a:srgbClr val="618FFD"/>
      </a:accent1>
      <a:accent2>
        <a:srgbClr val="FAFD00"/>
      </a:accent2>
      <a:accent3>
        <a:srgbClr val="B0C6AA"/>
      </a:accent3>
      <a:accent4>
        <a:srgbClr val="000000"/>
      </a:accent4>
      <a:accent5>
        <a:srgbClr val="B7C6FE"/>
      </a:accent5>
      <a:accent6>
        <a:srgbClr val="E3E500"/>
      </a:accent6>
      <a:hlink>
        <a:srgbClr val="00FFFF"/>
      </a:hlink>
      <a:folHlink>
        <a:srgbClr val="8CF4EA"/>
      </a:folHlink>
    </a:clrScheme>
    <a:fontScheme name="world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worldc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orldc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worldc">
  <a:themeElements>
    <a:clrScheme name="">
      <a:dk1>
        <a:srgbClr val="000000"/>
      </a:dk1>
      <a:lt1>
        <a:srgbClr val="438E00"/>
      </a:lt1>
      <a:dk2>
        <a:srgbClr val="008A84"/>
      </a:dk2>
      <a:lt2>
        <a:srgbClr val="A2C1FE"/>
      </a:lt2>
      <a:accent1>
        <a:srgbClr val="618FFD"/>
      </a:accent1>
      <a:accent2>
        <a:srgbClr val="FAFD00"/>
      </a:accent2>
      <a:accent3>
        <a:srgbClr val="B0C6AA"/>
      </a:accent3>
      <a:accent4>
        <a:srgbClr val="000000"/>
      </a:accent4>
      <a:accent5>
        <a:srgbClr val="B7C6FE"/>
      </a:accent5>
      <a:accent6>
        <a:srgbClr val="E3E500"/>
      </a:accent6>
      <a:hlink>
        <a:srgbClr val="00FFFF"/>
      </a:hlink>
      <a:folHlink>
        <a:srgbClr val="8CF4EA"/>
      </a:folHlink>
    </a:clrScheme>
    <a:fontScheme name="world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worldc 1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33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worldc 3">
        <a:dk1>
          <a:srgbClr val="000000"/>
        </a:dk1>
        <a:lt1>
          <a:srgbClr val="FFFFCC"/>
        </a:lt1>
        <a:dk2>
          <a:srgbClr val="999933"/>
        </a:dk2>
        <a:lt2>
          <a:srgbClr val="808000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4">
        <a:dk1>
          <a:srgbClr val="000000"/>
        </a:dk1>
        <a:lt1>
          <a:srgbClr val="FFFFFF"/>
        </a:lt1>
        <a:dk2>
          <a:srgbClr val="000000"/>
        </a:dk2>
        <a:lt2>
          <a:srgbClr val="393939"/>
        </a:lt2>
        <a:accent1>
          <a:srgbClr val="CBCBCB"/>
        </a:accent1>
        <a:accent2>
          <a:srgbClr val="86868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797979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5">
        <a:dk1>
          <a:srgbClr val="000000"/>
        </a:dk1>
        <a:lt1>
          <a:srgbClr val="FFFFFF"/>
        </a:lt1>
        <a:dk2>
          <a:srgbClr val="000000"/>
        </a:dk2>
        <a:lt2>
          <a:srgbClr val="9F9F9F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6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CBCBCB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005CE7"/>
        </a:accent6>
        <a:hlink>
          <a:srgbClr val="FF0033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worldc 7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0109</TotalTime>
  <Words>1727</Words>
  <Application>Microsoft Office PowerPoint</Application>
  <PresentationFormat>A4 용지(210x297mm)</PresentationFormat>
  <Paragraphs>680</Paragraphs>
  <Slides>29</Slides>
  <Notes>17</Notes>
  <HiddenSlides>0</HiddenSlides>
  <MMClips>0</MMClips>
  <ScaleCrop>false</ScaleCrop>
  <HeadingPairs>
    <vt:vector size="4" baseType="variant">
      <vt:variant>
        <vt:lpstr>테마</vt:lpstr>
      </vt:variant>
      <vt:variant>
        <vt:i4>10</vt:i4>
      </vt:variant>
      <vt:variant>
        <vt:lpstr>슬라이드 제목</vt:lpstr>
      </vt:variant>
      <vt:variant>
        <vt:i4>29</vt:i4>
      </vt:variant>
    </vt:vector>
  </HeadingPairs>
  <TitlesOfParts>
    <vt:vector size="39" baseType="lpstr">
      <vt:lpstr>1_디자인 사용자 지정</vt:lpstr>
      <vt:lpstr>디자인 사용자 지정</vt:lpstr>
      <vt:lpstr>2_Knowledgeworks Temlate</vt:lpstr>
      <vt:lpstr>PresentationLoad</vt:lpstr>
      <vt:lpstr>2_디자인 사용자 지정</vt:lpstr>
      <vt:lpstr>3_디자인 사용자 지정</vt:lpstr>
      <vt:lpstr>worldc</vt:lpstr>
      <vt:lpstr>1_worldc</vt:lpstr>
      <vt:lpstr>Office 테마</vt:lpstr>
      <vt:lpstr>1_Office 테마</vt:lpstr>
      <vt:lpstr>PowerPoint 프레젠테이션</vt:lpstr>
      <vt:lpstr>Stage-Gate Process (1/4)</vt:lpstr>
      <vt:lpstr>Stage-Gate Process (2/4)</vt:lpstr>
      <vt:lpstr>Stage-Gate Process (3/4)</vt:lpstr>
      <vt:lpstr>Stage-Gate Process (4/4)</vt:lpstr>
      <vt:lpstr>Quality Function Deployment (1/6)</vt:lpstr>
      <vt:lpstr>Quality Function Deployment (2/6)</vt:lpstr>
      <vt:lpstr>Quality Function Deployment (3/6)</vt:lpstr>
      <vt:lpstr>Quality Function Deployment (4/6)</vt:lpstr>
      <vt:lpstr>Quality Function Deployment (5/6)</vt:lpstr>
      <vt:lpstr>Quality Function Deployment (6/6)</vt:lpstr>
      <vt:lpstr>QFD Matrix</vt:lpstr>
      <vt:lpstr>Customer Requirements (What’s)</vt:lpstr>
      <vt:lpstr>Technical Descriptors (How’s)</vt:lpstr>
      <vt:lpstr>L - Shaped Diagram</vt:lpstr>
      <vt:lpstr>Relationship Matrix</vt:lpstr>
      <vt:lpstr>Correlation Matrix</vt:lpstr>
      <vt:lpstr>Customer Competitive Assessment</vt:lpstr>
      <vt:lpstr>Technical Competitive Assessment</vt:lpstr>
      <vt:lpstr>PowerPoint 프레젠테이션</vt:lpstr>
      <vt:lpstr>PowerPoint 프레젠테이션</vt:lpstr>
      <vt:lpstr>PowerPoint 프레젠테이션</vt:lpstr>
      <vt:lpstr>QFD Process</vt:lpstr>
      <vt:lpstr>Phase I Product Planning</vt:lpstr>
      <vt:lpstr>Phase II Part Development</vt:lpstr>
      <vt:lpstr>PowerPoint 프레젠테이션</vt:lpstr>
      <vt:lpstr>PowerPoint 프레젠테이션</vt:lpstr>
      <vt:lpstr>QFD Summary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ge-gate Process &amp; Qualify Function Deployment</dc:title>
  <dc:creator>Modeum Lee</dc:creator>
  <cp:lastModifiedBy>Modeum Lee</cp:lastModifiedBy>
  <cp:revision>892</cp:revision>
  <dcterms:created xsi:type="dcterms:W3CDTF">2009-01-23T07:32:02Z</dcterms:created>
  <dcterms:modified xsi:type="dcterms:W3CDTF">2012-12-06T06:26:05Z</dcterms:modified>
  <cp:version>v.1.5</cp:version>
</cp:coreProperties>
</file>